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256" r:id="rId5"/>
    <p:sldId id="325" r:id="rId6"/>
    <p:sldId id="334" r:id="rId7"/>
    <p:sldId id="319" r:id="rId8"/>
    <p:sldId id="322" r:id="rId9"/>
    <p:sldId id="328" r:id="rId10"/>
    <p:sldId id="323" r:id="rId11"/>
    <p:sldId id="321" r:id="rId12"/>
    <p:sldId id="271" r:id="rId13"/>
    <p:sldId id="315" r:id="rId14"/>
    <p:sldId id="314" r:id="rId15"/>
    <p:sldId id="316" r:id="rId16"/>
    <p:sldId id="331" r:id="rId17"/>
    <p:sldId id="317" r:id="rId18"/>
    <p:sldId id="318" r:id="rId19"/>
    <p:sldId id="320" r:id="rId20"/>
    <p:sldId id="330" r:id="rId21"/>
    <p:sldId id="329" r:id="rId22"/>
    <p:sldId id="324" r:id="rId23"/>
    <p:sldId id="332" r:id="rId24"/>
  </p:sldIdLst>
  <p:sldSz cx="9144000" cy="5143500" type="screen16x9"/>
  <p:notesSz cx="6794500" cy="99314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52" userDrawn="1">
          <p15:clr>
            <a:srgbClr val="A4A3A4"/>
          </p15:clr>
        </p15:guide>
        <p15:guide id="8" orient="horz" pos="2913">
          <p15:clr>
            <a:srgbClr val="A4A3A4"/>
          </p15:clr>
        </p15:guide>
        <p15:guide id="9" orient="horz" pos="917">
          <p15:clr>
            <a:srgbClr val="A4A3A4"/>
          </p15:clr>
        </p15:guide>
        <p15:guide id="10" pos="363">
          <p15:clr>
            <a:srgbClr val="A4A3A4"/>
          </p15:clr>
        </p15:guide>
        <p15:guide id="11" pos="2608" userDrawn="1">
          <p15:clr>
            <a:srgbClr val="A4A3A4"/>
          </p15:clr>
        </p15:guide>
        <p15:guide id="12" pos="2789">
          <p15:clr>
            <a:srgbClr val="A4A3A4"/>
          </p15:clr>
        </p15:guide>
        <p15:guide id="13" pos="503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3C950EF-6616-0453-6182-0EB534DA2B19}" name="Konečný Přemysl" initials="KP" userId="S::premysl.konecny@innogy.cz::cb82ba73-0387-4d27-839a-e2c5589b836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ACDCEB-E576-4F83-A3E1-E9AD581636C3}" v="447" dt="2022-11-22T11:20:34.398"/>
    <p1510:client id="{BE0858CB-F959-AA0A-FB40-684A3A8624C3}" v="5" dt="2022-11-24T14:22:11.3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7450" autoAdjust="0"/>
  </p:normalViewPr>
  <p:slideViewPr>
    <p:cSldViewPr snapToGrid="0">
      <p:cViewPr varScale="1">
        <p:scale>
          <a:sx n="94" d="100"/>
          <a:sy n="94" d="100"/>
        </p:scale>
        <p:origin x="250" y="77"/>
      </p:cViewPr>
      <p:guideLst>
        <p:guide orient="horz" pos="3952"/>
        <p:guide orient="horz" pos="2913"/>
        <p:guide orient="horz" pos="917"/>
        <p:guide pos="363"/>
        <p:guide pos="2608"/>
        <p:guide pos="2789"/>
        <p:guide pos="503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8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točová Annamária" userId="634ae5da-4a21-49c1-8516-090060a4c2b8" providerId="ADAL" clId="{31EE1C0F-C790-4B64-A411-40FD3B33A328}"/>
    <pc:docChg chg="undo custSel modSld">
      <pc:chgData name="Kotočová Annamária" userId="634ae5da-4a21-49c1-8516-090060a4c2b8" providerId="ADAL" clId="{31EE1C0F-C790-4B64-A411-40FD3B33A328}" dt="2022-11-15T15:18:38.168" v="59" actId="1076"/>
      <pc:docMkLst>
        <pc:docMk/>
      </pc:docMkLst>
      <pc:sldChg chg="addSp delSp modSp mod">
        <pc:chgData name="Kotočová Annamária" userId="634ae5da-4a21-49c1-8516-090060a4c2b8" providerId="ADAL" clId="{31EE1C0F-C790-4B64-A411-40FD3B33A328}" dt="2022-11-15T15:18:38.168" v="59" actId="1076"/>
        <pc:sldMkLst>
          <pc:docMk/>
          <pc:sldMk cId="1925916913" sldId="319"/>
        </pc:sldMkLst>
        <pc:picChg chg="add mod">
          <ac:chgData name="Kotočová Annamária" userId="634ae5da-4a21-49c1-8516-090060a4c2b8" providerId="ADAL" clId="{31EE1C0F-C790-4B64-A411-40FD3B33A328}" dt="2022-11-15T15:18:38.168" v="59" actId="1076"/>
          <ac:picMkLst>
            <pc:docMk/>
            <pc:sldMk cId="1925916913" sldId="319"/>
            <ac:picMk id="5" creationId="{924CAC7A-669E-4604-A234-9C657F9F8BFC}"/>
          </ac:picMkLst>
        </pc:picChg>
        <pc:picChg chg="add del mod">
          <ac:chgData name="Kotočová Annamária" userId="634ae5da-4a21-49c1-8516-090060a4c2b8" providerId="ADAL" clId="{31EE1C0F-C790-4B64-A411-40FD3B33A328}" dt="2022-11-11T14:15:51.388" v="24"/>
          <ac:picMkLst>
            <pc:docMk/>
            <pc:sldMk cId="1925916913" sldId="319"/>
            <ac:picMk id="6" creationId="{3A1B1EA2-B07D-4796-A337-23482D5D1D92}"/>
          </ac:picMkLst>
        </pc:picChg>
        <pc:picChg chg="add mod">
          <ac:chgData name="Kotočová Annamária" userId="634ae5da-4a21-49c1-8516-090060a4c2b8" providerId="ADAL" clId="{31EE1C0F-C790-4B64-A411-40FD3B33A328}" dt="2022-11-14T10:01:43.290" v="52" actId="1076"/>
          <ac:picMkLst>
            <pc:docMk/>
            <pc:sldMk cId="1925916913" sldId="319"/>
            <ac:picMk id="6" creationId="{F9A578E5-AF78-4654-A412-0F4B5C525B08}"/>
          </ac:picMkLst>
        </pc:picChg>
        <pc:picChg chg="add mod">
          <ac:chgData name="Kotočová Annamária" userId="634ae5da-4a21-49c1-8516-090060a4c2b8" providerId="ADAL" clId="{31EE1C0F-C790-4B64-A411-40FD3B33A328}" dt="2022-11-14T10:01:45.298" v="53" actId="1076"/>
          <ac:picMkLst>
            <pc:docMk/>
            <pc:sldMk cId="1925916913" sldId="319"/>
            <ac:picMk id="8" creationId="{B094B1BD-33E7-4EE4-ACF0-E7B0F300D632}"/>
          </ac:picMkLst>
        </pc:picChg>
        <pc:picChg chg="add del mod">
          <ac:chgData name="Kotočová Annamária" userId="634ae5da-4a21-49c1-8516-090060a4c2b8" providerId="ADAL" clId="{31EE1C0F-C790-4B64-A411-40FD3B33A328}" dt="2022-11-11T14:39:00.972" v="27" actId="478"/>
          <ac:picMkLst>
            <pc:docMk/>
            <pc:sldMk cId="1925916913" sldId="319"/>
            <ac:picMk id="8" creationId="{B2300B40-6792-4CA6-BB44-C2DBCDF8D219}"/>
          </ac:picMkLst>
        </pc:picChg>
        <pc:picChg chg="add del mod">
          <ac:chgData name="Kotočová Annamária" userId="634ae5da-4a21-49c1-8516-090060a4c2b8" providerId="ADAL" clId="{31EE1C0F-C790-4B64-A411-40FD3B33A328}" dt="2022-11-11T14:52:08.389" v="33" actId="478"/>
          <ac:picMkLst>
            <pc:docMk/>
            <pc:sldMk cId="1925916913" sldId="319"/>
            <ac:picMk id="10" creationId="{70C98CD7-E06C-41C9-8724-353C12D56722}"/>
          </ac:picMkLst>
        </pc:picChg>
        <pc:picChg chg="add mod">
          <ac:chgData name="Kotočová Annamária" userId="634ae5da-4a21-49c1-8516-090060a4c2b8" providerId="ADAL" clId="{31EE1C0F-C790-4B64-A411-40FD3B33A328}" dt="2022-11-11T14:53:10.455" v="37" actId="1076"/>
          <ac:picMkLst>
            <pc:docMk/>
            <pc:sldMk cId="1925916913" sldId="319"/>
            <ac:picMk id="13" creationId="{EF045A14-D8DD-461A-85E4-BAA838EADE06}"/>
          </ac:picMkLst>
        </pc:picChg>
      </pc:sldChg>
      <pc:sldChg chg="addSp delSp modSp mod">
        <pc:chgData name="Kotočová Annamária" userId="634ae5da-4a21-49c1-8516-090060a4c2b8" providerId="ADAL" clId="{31EE1C0F-C790-4B64-A411-40FD3B33A328}" dt="2022-11-11T13:24:30.585" v="16" actId="1076"/>
        <pc:sldMkLst>
          <pc:docMk/>
          <pc:sldMk cId="588059555" sldId="320"/>
        </pc:sldMkLst>
        <pc:picChg chg="add mod modCrop">
          <ac:chgData name="Kotočová Annamária" userId="634ae5da-4a21-49c1-8516-090060a4c2b8" providerId="ADAL" clId="{31EE1C0F-C790-4B64-A411-40FD3B33A328}" dt="2022-11-11T13:24:30.585" v="16" actId="1076"/>
          <ac:picMkLst>
            <pc:docMk/>
            <pc:sldMk cId="588059555" sldId="320"/>
            <ac:picMk id="7" creationId="{757AE2CE-F2E0-4B7C-BE39-D2A9204BCBBE}"/>
          </ac:picMkLst>
        </pc:picChg>
        <pc:picChg chg="add del mod">
          <ac:chgData name="Kotočová Annamária" userId="634ae5da-4a21-49c1-8516-090060a4c2b8" providerId="ADAL" clId="{31EE1C0F-C790-4B64-A411-40FD3B33A328}" dt="2022-11-11T13:23:24.240" v="6" actId="478"/>
          <ac:picMkLst>
            <pc:docMk/>
            <pc:sldMk cId="588059555" sldId="320"/>
            <ac:picMk id="10" creationId="{42847584-6BAE-4F31-B23D-C2A8C6398F0F}"/>
          </ac:picMkLst>
        </pc:picChg>
      </pc:sldChg>
    </pc:docChg>
  </pc:docChgLst>
  <pc:docChgLst>
    <pc:chgData name="Michal" userId="98db5e35-3b01-412d-8832-19059cf13f0a" providerId="ADAL" clId="{4DACDCEB-E576-4F83-A3E1-E9AD581636C3}"/>
    <pc:docChg chg="undo redo custSel addSld delSld modSld sldOrd modNotesMaster modHandout">
      <pc:chgData name="Michal" userId="98db5e35-3b01-412d-8832-19059cf13f0a" providerId="ADAL" clId="{4DACDCEB-E576-4F83-A3E1-E9AD581636C3}" dt="2022-11-22T12:17:42.705" v="2350" actId="6549"/>
      <pc:docMkLst>
        <pc:docMk/>
      </pc:docMkLst>
      <pc:sldChg chg="modSp mod modNotesTx">
        <pc:chgData name="Michal" userId="98db5e35-3b01-412d-8832-19059cf13f0a" providerId="ADAL" clId="{4DACDCEB-E576-4F83-A3E1-E9AD581636C3}" dt="2022-11-22T11:00:30.367" v="2217" actId="6549"/>
        <pc:sldMkLst>
          <pc:docMk/>
          <pc:sldMk cId="3880140835" sldId="271"/>
        </pc:sldMkLst>
        <pc:spChg chg="mod">
          <ac:chgData name="Michal" userId="98db5e35-3b01-412d-8832-19059cf13f0a" providerId="ADAL" clId="{4DACDCEB-E576-4F83-A3E1-E9AD581636C3}" dt="2022-11-21T17:04:04.603" v="1314" actId="20577"/>
          <ac:spMkLst>
            <pc:docMk/>
            <pc:sldMk cId="3880140835" sldId="271"/>
            <ac:spMk id="6" creationId="{B9A696E1-78B1-42A5-8F38-2CAEE9B961A3}"/>
          </ac:spMkLst>
        </pc:spChg>
      </pc:sldChg>
      <pc:sldChg chg="modNotesTx">
        <pc:chgData name="Michal" userId="98db5e35-3b01-412d-8832-19059cf13f0a" providerId="ADAL" clId="{4DACDCEB-E576-4F83-A3E1-E9AD581636C3}" dt="2022-11-22T11:10:17.242" v="2230" actId="6549"/>
        <pc:sldMkLst>
          <pc:docMk/>
          <pc:sldMk cId="1077081780" sldId="314"/>
        </pc:sldMkLst>
      </pc:sldChg>
      <pc:sldChg chg="addSp delSp modSp mod modNotesTx">
        <pc:chgData name="Michal" userId="98db5e35-3b01-412d-8832-19059cf13f0a" providerId="ADAL" clId="{4DACDCEB-E576-4F83-A3E1-E9AD581636C3}" dt="2022-11-22T11:08:50.249" v="2229" actId="1076"/>
        <pc:sldMkLst>
          <pc:docMk/>
          <pc:sldMk cId="3900715308" sldId="315"/>
        </pc:sldMkLst>
        <pc:picChg chg="del mod">
          <ac:chgData name="Michal" userId="98db5e35-3b01-412d-8832-19059cf13f0a" providerId="ADAL" clId="{4DACDCEB-E576-4F83-A3E1-E9AD581636C3}" dt="2022-11-22T11:07:58.717" v="2219" actId="478"/>
          <ac:picMkLst>
            <pc:docMk/>
            <pc:sldMk cId="3900715308" sldId="315"/>
            <ac:picMk id="5" creationId="{945ED7E3-35D4-45FD-AA99-2CF9FB438691}"/>
          </ac:picMkLst>
        </pc:picChg>
        <pc:picChg chg="add mod">
          <ac:chgData name="Michal" userId="98db5e35-3b01-412d-8832-19059cf13f0a" providerId="ADAL" clId="{4DACDCEB-E576-4F83-A3E1-E9AD581636C3}" dt="2022-11-22T11:08:50.249" v="2229" actId="1076"/>
          <ac:picMkLst>
            <pc:docMk/>
            <pc:sldMk cId="3900715308" sldId="315"/>
            <ac:picMk id="6" creationId="{260E4812-99D2-403E-B32C-431E4783A399}"/>
          </ac:picMkLst>
        </pc:picChg>
      </pc:sldChg>
      <pc:sldChg chg="addSp delSp modSp mod modNotesTx">
        <pc:chgData name="Michal" userId="98db5e35-3b01-412d-8832-19059cf13f0a" providerId="ADAL" clId="{4DACDCEB-E576-4F83-A3E1-E9AD581636C3}" dt="2022-11-22T11:20:34.382" v="2240" actId="1076"/>
        <pc:sldMkLst>
          <pc:docMk/>
          <pc:sldMk cId="114741274" sldId="316"/>
        </pc:sldMkLst>
        <pc:picChg chg="del">
          <ac:chgData name="Michal" userId="98db5e35-3b01-412d-8832-19059cf13f0a" providerId="ADAL" clId="{4DACDCEB-E576-4F83-A3E1-E9AD581636C3}" dt="2022-11-22T11:19:05.723" v="2232" actId="478"/>
          <ac:picMkLst>
            <pc:docMk/>
            <pc:sldMk cId="114741274" sldId="316"/>
            <ac:picMk id="3" creationId="{3574F3EA-1C88-409C-B335-13FD1AB42B19}"/>
          </ac:picMkLst>
        </pc:picChg>
        <pc:picChg chg="del mod">
          <ac:chgData name="Michal" userId="98db5e35-3b01-412d-8832-19059cf13f0a" providerId="ADAL" clId="{4DACDCEB-E576-4F83-A3E1-E9AD581636C3}" dt="2022-11-22T11:20:18.173" v="2236" actId="478"/>
          <ac:picMkLst>
            <pc:docMk/>
            <pc:sldMk cId="114741274" sldId="316"/>
            <ac:picMk id="6" creationId="{245CD359-0558-4E06-A3EE-77A92A411A41}"/>
          </ac:picMkLst>
        </pc:picChg>
        <pc:picChg chg="add del">
          <ac:chgData name="Michal" userId="98db5e35-3b01-412d-8832-19059cf13f0a" providerId="ADAL" clId="{4DACDCEB-E576-4F83-A3E1-E9AD581636C3}" dt="2022-11-22T11:20:18.173" v="2236" actId="478"/>
          <ac:picMkLst>
            <pc:docMk/>
            <pc:sldMk cId="114741274" sldId="316"/>
            <ac:picMk id="1026" creationId="{9319331D-BB95-41F7-B481-9D73F966E65E}"/>
          </ac:picMkLst>
        </pc:picChg>
        <pc:picChg chg="add mod">
          <ac:chgData name="Michal" userId="98db5e35-3b01-412d-8832-19059cf13f0a" providerId="ADAL" clId="{4DACDCEB-E576-4F83-A3E1-E9AD581636C3}" dt="2022-11-22T11:20:34.382" v="2240" actId="1076"/>
          <ac:picMkLst>
            <pc:docMk/>
            <pc:sldMk cId="114741274" sldId="316"/>
            <ac:picMk id="1028" creationId="{779742E8-152F-4CD3-AA43-A2145453D46F}"/>
          </ac:picMkLst>
        </pc:picChg>
      </pc:sldChg>
      <pc:sldChg chg="addSp delSp modSp mod modNotesTx">
        <pc:chgData name="Michal" userId="98db5e35-3b01-412d-8832-19059cf13f0a" providerId="ADAL" clId="{4DACDCEB-E576-4F83-A3E1-E9AD581636C3}" dt="2022-11-22T12:02:01.984" v="2276" actId="478"/>
        <pc:sldMkLst>
          <pc:docMk/>
          <pc:sldMk cId="987638889" sldId="317"/>
        </pc:sldMkLst>
        <pc:spChg chg="mod">
          <ac:chgData name="Michal" userId="98db5e35-3b01-412d-8832-19059cf13f0a" providerId="ADAL" clId="{4DACDCEB-E576-4F83-A3E1-E9AD581636C3}" dt="2022-11-22T11:46:59.158" v="2270" actId="20577"/>
          <ac:spMkLst>
            <pc:docMk/>
            <pc:sldMk cId="987638889" sldId="317"/>
            <ac:spMk id="4" creationId="{9B9D6278-1229-4B3F-8FE8-06A85D317FC2}"/>
          </ac:spMkLst>
        </pc:spChg>
        <pc:picChg chg="del">
          <ac:chgData name="Michal" userId="98db5e35-3b01-412d-8832-19059cf13f0a" providerId="ADAL" clId="{4DACDCEB-E576-4F83-A3E1-E9AD581636C3}" dt="2022-11-22T11:39:10.162" v="2243" actId="478"/>
          <ac:picMkLst>
            <pc:docMk/>
            <pc:sldMk cId="987638889" sldId="317"/>
            <ac:picMk id="3" creationId="{CCF09636-7D68-4D29-896B-BAE20C97981E}"/>
          </ac:picMkLst>
        </pc:picChg>
        <pc:picChg chg="add del mod">
          <ac:chgData name="Michal" userId="98db5e35-3b01-412d-8832-19059cf13f0a" providerId="ADAL" clId="{4DACDCEB-E576-4F83-A3E1-E9AD581636C3}" dt="2022-11-22T11:40:20.089" v="2255" actId="478"/>
          <ac:picMkLst>
            <pc:docMk/>
            <pc:sldMk cId="987638889" sldId="317"/>
            <ac:picMk id="5" creationId="{7D6987A3-DD69-4693-91CC-36B40170EB0B}"/>
          </ac:picMkLst>
        </pc:picChg>
        <pc:picChg chg="add del mod">
          <ac:chgData name="Michal" userId="98db5e35-3b01-412d-8832-19059cf13f0a" providerId="ADAL" clId="{4DACDCEB-E576-4F83-A3E1-E9AD581636C3}" dt="2022-11-22T12:02:01.984" v="2276" actId="478"/>
          <ac:picMkLst>
            <pc:docMk/>
            <pc:sldMk cId="987638889" sldId="317"/>
            <ac:picMk id="7" creationId="{92D12FB1-8369-40DF-9D1C-1022982993C7}"/>
          </ac:picMkLst>
        </pc:picChg>
      </pc:sldChg>
      <pc:sldChg chg="modSp mod modNotesTx">
        <pc:chgData name="Michal" userId="98db5e35-3b01-412d-8832-19059cf13f0a" providerId="ADAL" clId="{4DACDCEB-E576-4F83-A3E1-E9AD581636C3}" dt="2022-11-22T12:02:48.833" v="2301" actId="20577"/>
        <pc:sldMkLst>
          <pc:docMk/>
          <pc:sldMk cId="2164556613" sldId="318"/>
        </pc:sldMkLst>
        <pc:spChg chg="mod">
          <ac:chgData name="Michal" userId="98db5e35-3b01-412d-8832-19059cf13f0a" providerId="ADAL" clId="{4DACDCEB-E576-4F83-A3E1-E9AD581636C3}" dt="2022-11-22T12:02:48.833" v="2301" actId="20577"/>
          <ac:spMkLst>
            <pc:docMk/>
            <pc:sldMk cId="2164556613" sldId="318"/>
            <ac:spMk id="4" creationId="{9B9D6278-1229-4B3F-8FE8-06A85D317FC2}"/>
          </ac:spMkLst>
        </pc:spChg>
      </pc:sldChg>
      <pc:sldChg chg="addSp modSp mod modNotesTx">
        <pc:chgData name="Michal" userId="98db5e35-3b01-412d-8832-19059cf13f0a" providerId="ADAL" clId="{4DACDCEB-E576-4F83-A3E1-E9AD581636C3}" dt="2022-11-22T09:54:39.488" v="2206" actId="6549"/>
        <pc:sldMkLst>
          <pc:docMk/>
          <pc:sldMk cId="1925916913" sldId="319"/>
        </pc:sldMkLst>
        <pc:spChg chg="mod">
          <ac:chgData name="Michal" userId="98db5e35-3b01-412d-8832-19059cf13f0a" providerId="ADAL" clId="{4DACDCEB-E576-4F83-A3E1-E9AD581636C3}" dt="2022-11-18T13:46:52.973" v="1106" actId="20577"/>
          <ac:spMkLst>
            <pc:docMk/>
            <pc:sldMk cId="1925916913" sldId="319"/>
            <ac:spMk id="12" creationId="{73D3749E-4F15-4B1F-B5A0-02D2E21153AD}"/>
          </ac:spMkLst>
        </pc:spChg>
        <pc:picChg chg="add mod">
          <ac:chgData name="Michal" userId="98db5e35-3b01-412d-8832-19059cf13f0a" providerId="ADAL" clId="{4DACDCEB-E576-4F83-A3E1-E9AD581636C3}" dt="2022-11-18T13:46:36.394" v="1105" actId="14100"/>
          <ac:picMkLst>
            <pc:docMk/>
            <pc:sldMk cId="1925916913" sldId="319"/>
            <ac:picMk id="3074" creationId="{803E549C-2EDC-46A6-9E83-E83AC984D24E}"/>
          </ac:picMkLst>
        </pc:picChg>
      </pc:sldChg>
      <pc:sldChg chg="modNotesTx">
        <pc:chgData name="Michal" userId="98db5e35-3b01-412d-8832-19059cf13f0a" providerId="ADAL" clId="{4DACDCEB-E576-4F83-A3E1-E9AD581636C3}" dt="2022-11-22T11:52:51.772" v="2275" actId="6549"/>
        <pc:sldMkLst>
          <pc:docMk/>
          <pc:sldMk cId="588059555" sldId="320"/>
        </pc:sldMkLst>
      </pc:sldChg>
      <pc:sldChg chg="addSp delSp modSp mod modNotesTx">
        <pc:chgData name="Michal" userId="98db5e35-3b01-412d-8832-19059cf13f0a" providerId="ADAL" clId="{4DACDCEB-E576-4F83-A3E1-E9AD581636C3}" dt="2022-11-22T10:56:00.307" v="2216" actId="6549"/>
        <pc:sldMkLst>
          <pc:docMk/>
          <pc:sldMk cId="1952072441" sldId="321"/>
        </pc:sldMkLst>
        <pc:spChg chg="mod">
          <ac:chgData name="Michal" userId="98db5e35-3b01-412d-8832-19059cf13f0a" providerId="ADAL" clId="{4DACDCEB-E576-4F83-A3E1-E9AD581636C3}" dt="2022-11-18T10:19:45.238" v="4" actId="113"/>
          <ac:spMkLst>
            <pc:docMk/>
            <pc:sldMk cId="1952072441" sldId="321"/>
            <ac:spMk id="12" creationId="{73D3749E-4F15-4B1F-B5A0-02D2E21153AD}"/>
          </ac:spMkLst>
        </pc:spChg>
        <pc:picChg chg="add del mod">
          <ac:chgData name="Michal" userId="98db5e35-3b01-412d-8832-19059cf13f0a" providerId="ADAL" clId="{4DACDCEB-E576-4F83-A3E1-E9AD581636C3}" dt="2022-11-21T14:18:25.774" v="1146" actId="478"/>
          <ac:picMkLst>
            <pc:docMk/>
            <pc:sldMk cId="1952072441" sldId="321"/>
            <ac:picMk id="5" creationId="{582C1F3C-C4F2-44C1-9E02-F1370DBA7800}"/>
          </ac:picMkLst>
        </pc:picChg>
        <pc:picChg chg="add mod">
          <ac:chgData name="Michal" userId="98db5e35-3b01-412d-8832-19059cf13f0a" providerId="ADAL" clId="{4DACDCEB-E576-4F83-A3E1-E9AD581636C3}" dt="2022-11-21T14:18:33.412" v="1149" actId="1076"/>
          <ac:picMkLst>
            <pc:docMk/>
            <pc:sldMk cId="1952072441" sldId="321"/>
            <ac:picMk id="6" creationId="{85F23A53-EF0E-49F2-B3E0-C55ED849B0C0}"/>
          </ac:picMkLst>
        </pc:picChg>
      </pc:sldChg>
      <pc:sldChg chg="addSp delSp modSp modNotesTx">
        <pc:chgData name="Michal" userId="98db5e35-3b01-412d-8832-19059cf13f0a" providerId="ADAL" clId="{4DACDCEB-E576-4F83-A3E1-E9AD581636C3}" dt="2022-11-22T10:09:26.467" v="2207" actId="6549"/>
        <pc:sldMkLst>
          <pc:docMk/>
          <pc:sldMk cId="3733551867" sldId="322"/>
        </pc:sldMkLst>
        <pc:picChg chg="add del mod">
          <ac:chgData name="Michal" userId="98db5e35-3b01-412d-8832-19059cf13f0a" providerId="ADAL" clId="{4DACDCEB-E576-4F83-A3E1-E9AD581636C3}" dt="2022-11-18T13:48:47.770" v="1112" actId="478"/>
          <ac:picMkLst>
            <pc:docMk/>
            <pc:sldMk cId="3733551867" sldId="322"/>
            <ac:picMk id="4098" creationId="{0F9352C1-E8B6-4616-8987-467C570EC461}"/>
          </ac:picMkLst>
        </pc:picChg>
      </pc:sldChg>
      <pc:sldChg chg="modNotesTx">
        <pc:chgData name="Michal" userId="98db5e35-3b01-412d-8832-19059cf13f0a" providerId="ADAL" clId="{4DACDCEB-E576-4F83-A3E1-E9AD581636C3}" dt="2022-11-22T10:55:43.861" v="2214" actId="20577"/>
        <pc:sldMkLst>
          <pc:docMk/>
          <pc:sldMk cId="3959646481" sldId="323"/>
        </pc:sldMkLst>
      </pc:sldChg>
      <pc:sldChg chg="ord modNotesTx">
        <pc:chgData name="Michal" userId="98db5e35-3b01-412d-8832-19059cf13f0a" providerId="ADAL" clId="{4DACDCEB-E576-4F83-A3E1-E9AD581636C3}" dt="2022-11-22T12:17:42.705" v="2350" actId="6549"/>
        <pc:sldMkLst>
          <pc:docMk/>
          <pc:sldMk cId="62660920" sldId="324"/>
        </pc:sldMkLst>
      </pc:sldChg>
      <pc:sldChg chg="modNotesTx">
        <pc:chgData name="Michal" userId="98db5e35-3b01-412d-8832-19059cf13f0a" providerId="ADAL" clId="{4DACDCEB-E576-4F83-A3E1-E9AD581636C3}" dt="2022-11-22T09:49:12.704" v="2204" actId="6549"/>
        <pc:sldMkLst>
          <pc:docMk/>
          <pc:sldMk cId="1951306199" sldId="325"/>
        </pc:sldMkLst>
      </pc:sldChg>
      <pc:sldChg chg="del modNotesTx">
        <pc:chgData name="Michal" userId="98db5e35-3b01-412d-8832-19059cf13f0a" providerId="ADAL" clId="{4DACDCEB-E576-4F83-A3E1-E9AD581636C3}" dt="2022-11-21T17:06:04.885" v="1515" actId="47"/>
        <pc:sldMkLst>
          <pc:docMk/>
          <pc:sldMk cId="1032059619" sldId="326"/>
        </pc:sldMkLst>
      </pc:sldChg>
      <pc:sldChg chg="addSp delSp modSp new mod modNotesTx">
        <pc:chgData name="Michal" userId="98db5e35-3b01-412d-8832-19059cf13f0a" providerId="ADAL" clId="{4DACDCEB-E576-4F83-A3E1-E9AD581636C3}" dt="2022-11-22T10:12:43.135" v="2208" actId="6549"/>
        <pc:sldMkLst>
          <pc:docMk/>
          <pc:sldMk cId="1279251807" sldId="328"/>
        </pc:sldMkLst>
        <pc:spChg chg="del">
          <ac:chgData name="Michal" userId="98db5e35-3b01-412d-8832-19059cf13f0a" providerId="ADAL" clId="{4DACDCEB-E576-4F83-A3E1-E9AD581636C3}" dt="2022-11-18T13:42:44.268" v="1085" actId="478"/>
          <ac:spMkLst>
            <pc:docMk/>
            <pc:sldMk cId="1279251807" sldId="328"/>
            <ac:spMk id="4" creationId="{EC6CED8A-D2B1-432A-8456-63C556E06BF3}"/>
          </ac:spMkLst>
        </pc:spChg>
        <pc:spChg chg="del">
          <ac:chgData name="Michal" userId="98db5e35-3b01-412d-8832-19059cf13f0a" providerId="ADAL" clId="{4DACDCEB-E576-4F83-A3E1-E9AD581636C3}" dt="2022-11-18T13:42:41.174" v="1084" actId="478"/>
          <ac:spMkLst>
            <pc:docMk/>
            <pc:sldMk cId="1279251807" sldId="328"/>
            <ac:spMk id="5" creationId="{A93378F2-7A56-4EE8-A843-D97490D84BEF}"/>
          </ac:spMkLst>
        </pc:spChg>
        <pc:picChg chg="add mod">
          <ac:chgData name="Michal" userId="98db5e35-3b01-412d-8832-19059cf13f0a" providerId="ADAL" clId="{4DACDCEB-E576-4F83-A3E1-E9AD581636C3}" dt="2022-11-18T13:44:31.725" v="1094" actId="1440"/>
          <ac:picMkLst>
            <pc:docMk/>
            <pc:sldMk cId="1279251807" sldId="328"/>
            <ac:picMk id="7" creationId="{9DC0484B-36CE-48D7-A26E-7F0BEFA6444E}"/>
          </ac:picMkLst>
        </pc:picChg>
        <pc:picChg chg="add del mod">
          <ac:chgData name="Michal" userId="98db5e35-3b01-412d-8832-19059cf13f0a" providerId="ADAL" clId="{4DACDCEB-E576-4F83-A3E1-E9AD581636C3}" dt="2022-11-18T13:44:10.831" v="1093" actId="478"/>
          <ac:picMkLst>
            <pc:docMk/>
            <pc:sldMk cId="1279251807" sldId="328"/>
            <ac:picMk id="9" creationId="{B79EA89C-65BB-451F-92ED-38F54AB93FBD}"/>
          </ac:picMkLst>
        </pc:picChg>
        <pc:picChg chg="add mod">
          <ac:chgData name="Michal" userId="98db5e35-3b01-412d-8832-19059cf13f0a" providerId="ADAL" clId="{4DACDCEB-E576-4F83-A3E1-E9AD581636C3}" dt="2022-11-18T13:44:45.234" v="1096" actId="1076"/>
          <ac:picMkLst>
            <pc:docMk/>
            <pc:sldMk cId="1279251807" sldId="328"/>
            <ac:picMk id="2050" creationId="{7DC950B8-24E8-4D44-8419-61549142B082}"/>
          </ac:picMkLst>
        </pc:picChg>
      </pc:sldChg>
      <pc:sldChg chg="addSp delSp modSp new mod modNotesTx">
        <pc:chgData name="Michal" userId="98db5e35-3b01-412d-8832-19059cf13f0a" providerId="ADAL" clId="{4DACDCEB-E576-4F83-A3E1-E9AD581636C3}" dt="2022-11-22T12:11:08.802" v="2349" actId="6549"/>
        <pc:sldMkLst>
          <pc:docMk/>
          <pc:sldMk cId="1558462109" sldId="329"/>
        </pc:sldMkLst>
        <pc:spChg chg="mod">
          <ac:chgData name="Michal" userId="98db5e35-3b01-412d-8832-19059cf13f0a" providerId="ADAL" clId="{4DACDCEB-E576-4F83-A3E1-E9AD581636C3}" dt="2022-11-18T12:50:52.662" v="1061" actId="20577"/>
          <ac:spMkLst>
            <pc:docMk/>
            <pc:sldMk cId="1558462109" sldId="329"/>
            <ac:spMk id="2" creationId="{E8001E37-0290-4AB4-B5B1-C2FC74E12D8D}"/>
          </ac:spMkLst>
        </pc:spChg>
        <pc:spChg chg="del">
          <ac:chgData name="Michal" userId="98db5e35-3b01-412d-8832-19059cf13f0a" providerId="ADAL" clId="{4DACDCEB-E576-4F83-A3E1-E9AD581636C3}" dt="2022-11-18T12:39:20.138" v="955" actId="478"/>
          <ac:spMkLst>
            <pc:docMk/>
            <pc:sldMk cId="1558462109" sldId="329"/>
            <ac:spMk id="4" creationId="{174B8C78-1612-4AB4-AABF-FD7C8E6A5498}"/>
          </ac:spMkLst>
        </pc:spChg>
        <pc:spChg chg="del mod">
          <ac:chgData name="Michal" userId="98db5e35-3b01-412d-8832-19059cf13f0a" providerId="ADAL" clId="{4DACDCEB-E576-4F83-A3E1-E9AD581636C3}" dt="2022-11-18T12:49:02.864" v="1036" actId="478"/>
          <ac:spMkLst>
            <pc:docMk/>
            <pc:sldMk cId="1558462109" sldId="329"/>
            <ac:spMk id="5" creationId="{DFE6D0B7-024D-4A3A-B560-602E39040E57}"/>
          </ac:spMkLst>
        </pc:spChg>
        <pc:spChg chg="add del mod">
          <ac:chgData name="Michal" userId="98db5e35-3b01-412d-8832-19059cf13f0a" providerId="ADAL" clId="{4DACDCEB-E576-4F83-A3E1-E9AD581636C3}" dt="2022-11-18T12:40:38.454" v="962"/>
          <ac:spMkLst>
            <pc:docMk/>
            <pc:sldMk cId="1558462109" sldId="329"/>
            <ac:spMk id="7" creationId="{49F17CAF-3E00-4492-821E-E1411041706A}"/>
          </ac:spMkLst>
        </pc:spChg>
        <pc:spChg chg="add del mod">
          <ac:chgData name="Michal" userId="98db5e35-3b01-412d-8832-19059cf13f0a" providerId="ADAL" clId="{4DACDCEB-E576-4F83-A3E1-E9AD581636C3}" dt="2022-11-18T12:49:04.830" v="1037" actId="478"/>
          <ac:spMkLst>
            <pc:docMk/>
            <pc:sldMk cId="1558462109" sldId="329"/>
            <ac:spMk id="9" creationId="{7C1825BB-B4F3-4843-BE43-8943791EDB58}"/>
          </ac:spMkLst>
        </pc:spChg>
        <pc:graphicFrameChg chg="add mod modGraphic">
          <ac:chgData name="Michal" userId="98db5e35-3b01-412d-8832-19059cf13f0a" providerId="ADAL" clId="{4DACDCEB-E576-4F83-A3E1-E9AD581636C3}" dt="2022-11-18T12:51:45.408" v="1070" actId="113"/>
          <ac:graphicFrameMkLst>
            <pc:docMk/>
            <pc:sldMk cId="1558462109" sldId="329"/>
            <ac:graphicFrameMk id="6" creationId="{3F8AC885-8062-4468-BB87-8033009E4A6D}"/>
          </ac:graphicFrameMkLst>
        </pc:graphicFrameChg>
        <pc:picChg chg="add mod">
          <ac:chgData name="Michal" userId="98db5e35-3b01-412d-8832-19059cf13f0a" providerId="ADAL" clId="{4DACDCEB-E576-4F83-A3E1-E9AD581636C3}" dt="2022-11-18T12:51:03.609" v="1063" actId="1076"/>
          <ac:picMkLst>
            <pc:docMk/>
            <pc:sldMk cId="1558462109" sldId="329"/>
            <ac:picMk id="13" creationId="{09AAD67C-319D-4627-98E0-74B0D0CFEE65}"/>
          </ac:picMkLst>
        </pc:picChg>
        <pc:picChg chg="add del mod">
          <ac:chgData name="Michal" userId="98db5e35-3b01-412d-8832-19059cf13f0a" providerId="ADAL" clId="{4DACDCEB-E576-4F83-A3E1-E9AD581636C3}" dt="2022-11-18T12:44:57.655" v="1002"/>
          <ac:picMkLst>
            <pc:docMk/>
            <pc:sldMk cId="1558462109" sldId="329"/>
            <ac:picMk id="1026" creationId="{654615B9-B63A-4106-A15B-3E9E84F0095B}"/>
          </ac:picMkLst>
        </pc:picChg>
        <pc:picChg chg="add del mod">
          <ac:chgData name="Michal" userId="98db5e35-3b01-412d-8832-19059cf13f0a" providerId="ADAL" clId="{4DACDCEB-E576-4F83-A3E1-E9AD581636C3}" dt="2022-11-18T12:44:57.347" v="1001"/>
          <ac:picMkLst>
            <pc:docMk/>
            <pc:sldMk cId="1558462109" sldId="329"/>
            <ac:picMk id="1028" creationId="{31845C64-0DFE-4645-8251-C6BD7C460521}"/>
          </ac:picMkLst>
        </pc:picChg>
        <pc:picChg chg="add del mod">
          <ac:chgData name="Michal" userId="98db5e35-3b01-412d-8832-19059cf13f0a" providerId="ADAL" clId="{4DACDCEB-E576-4F83-A3E1-E9AD581636C3}" dt="2022-11-18T12:50:57.869" v="1062" actId="478"/>
          <ac:picMkLst>
            <pc:docMk/>
            <pc:sldMk cId="1558462109" sldId="329"/>
            <ac:picMk id="1030" creationId="{36197E08-A33B-4476-A1BC-1C885A00C29D}"/>
          </ac:picMkLst>
        </pc:picChg>
      </pc:sldChg>
      <pc:sldChg chg="modSp add mod modNotesTx">
        <pc:chgData name="Michal" userId="98db5e35-3b01-412d-8832-19059cf13f0a" providerId="ADAL" clId="{4DACDCEB-E576-4F83-A3E1-E9AD581636C3}" dt="2022-11-22T12:10:25.998" v="2348" actId="20577"/>
        <pc:sldMkLst>
          <pc:docMk/>
          <pc:sldMk cId="1716738584" sldId="330"/>
        </pc:sldMkLst>
        <pc:spChg chg="mod">
          <ac:chgData name="Michal" userId="98db5e35-3b01-412d-8832-19059cf13f0a" providerId="ADAL" clId="{4DACDCEB-E576-4F83-A3E1-E9AD581636C3}" dt="2022-11-18T14:08:21.725" v="1124" actId="20577"/>
          <ac:spMkLst>
            <pc:docMk/>
            <pc:sldMk cId="1716738584" sldId="330"/>
            <ac:spMk id="6" creationId="{B4DD3841-6CA2-4C19-B142-3EE05922B835}"/>
          </ac:spMkLst>
        </pc:spChg>
        <pc:spChg chg="mod">
          <ac:chgData name="Michal" userId="98db5e35-3b01-412d-8832-19059cf13f0a" providerId="ADAL" clId="{4DACDCEB-E576-4F83-A3E1-E9AD581636C3}" dt="2022-11-22T12:10:25.998" v="2348" actId="20577"/>
          <ac:spMkLst>
            <pc:docMk/>
            <pc:sldMk cId="1716738584" sldId="330"/>
            <ac:spMk id="7" creationId="{9A958AE8-5107-4EE3-A360-BD2ED57989DA}"/>
          </ac:spMkLst>
        </pc:spChg>
      </pc:sldChg>
      <pc:sldChg chg="add del">
        <pc:chgData name="Michal" userId="98db5e35-3b01-412d-8832-19059cf13f0a" providerId="ADAL" clId="{4DACDCEB-E576-4F83-A3E1-E9AD581636C3}" dt="2022-11-18T14:07:52.448" v="1114" actId="47"/>
        <pc:sldMkLst>
          <pc:docMk/>
          <pc:sldMk cId="3889649843" sldId="330"/>
        </pc:sldMkLst>
      </pc:sldChg>
      <pc:sldChg chg="modNotesTx">
        <pc:chgData name="Michal" userId="98db5e35-3b01-412d-8832-19059cf13f0a" providerId="ADAL" clId="{4DACDCEB-E576-4F83-A3E1-E9AD581636C3}" dt="2022-11-22T11:22:36.841" v="2241" actId="6549"/>
        <pc:sldMkLst>
          <pc:docMk/>
          <pc:sldMk cId="1876871858" sldId="331"/>
        </pc:sldMkLst>
      </pc:sldChg>
      <pc:sldChg chg="modNotesTx">
        <pc:chgData name="Michal" userId="98db5e35-3b01-412d-8832-19059cf13f0a" providerId="ADAL" clId="{4DACDCEB-E576-4F83-A3E1-E9AD581636C3}" dt="2022-11-22T09:48:55.298" v="2203" actId="6549"/>
        <pc:sldMkLst>
          <pc:docMk/>
          <pc:sldMk cId="607505110" sldId="332"/>
        </pc:sldMkLst>
      </pc:sldChg>
      <pc:sldChg chg="modNotesTx">
        <pc:chgData name="Michal" userId="98db5e35-3b01-412d-8832-19059cf13f0a" providerId="ADAL" clId="{4DACDCEB-E576-4F83-A3E1-E9AD581636C3}" dt="2022-11-22T09:54:34.934" v="2205" actId="6549"/>
        <pc:sldMkLst>
          <pc:docMk/>
          <pc:sldMk cId="3298182271" sldId="334"/>
        </pc:sldMkLst>
      </pc:sldChg>
    </pc:docChg>
  </pc:docChgLst>
  <pc:docChgLst>
    <pc:chgData name="Hodinka Michal" userId="98db5e35-3b01-412d-8832-19059cf13f0a" providerId="ADAL" clId="{4DACDCEB-E576-4F83-A3E1-E9AD581636C3}"/>
    <pc:docChg chg="undo custSel addSld delSld modSld sldOrd">
      <pc:chgData name="Hodinka Michal" userId="98db5e35-3b01-412d-8832-19059cf13f0a" providerId="ADAL" clId="{4DACDCEB-E576-4F83-A3E1-E9AD581636C3}" dt="2022-11-24T22:27:30.393" v="3202" actId="47"/>
      <pc:docMkLst>
        <pc:docMk/>
      </pc:docMkLst>
      <pc:sldChg chg="modNotesTx">
        <pc:chgData name="Hodinka Michal" userId="98db5e35-3b01-412d-8832-19059cf13f0a" providerId="ADAL" clId="{4DACDCEB-E576-4F83-A3E1-E9AD581636C3}" dt="2022-11-21T09:03:38.832" v="1358" actId="6549"/>
        <pc:sldMkLst>
          <pc:docMk/>
          <pc:sldMk cId="2689160453" sldId="256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660172945" sldId="257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886633970" sldId="258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961094431" sldId="259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948557154" sldId="260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157302528" sldId="261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214369283" sldId="262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425104762" sldId="263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4192889141" sldId="264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657673992" sldId="265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931738235" sldId="266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4060145879" sldId="267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073332511" sldId="268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20547595" sldId="269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957603662" sldId="270"/>
        </pc:sldMkLst>
      </pc:sldChg>
      <pc:sldChg chg="modNotesTx">
        <pc:chgData name="Hodinka Michal" userId="98db5e35-3b01-412d-8832-19059cf13f0a" providerId="ADAL" clId="{4DACDCEB-E576-4F83-A3E1-E9AD581636C3}" dt="2022-11-20T12:34:38.681" v="1027" actId="20577"/>
        <pc:sldMkLst>
          <pc:docMk/>
          <pc:sldMk cId="3880140835" sldId="271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320044067" sldId="272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96307588" sldId="273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116669708" sldId="274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827905221" sldId="275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133839475" sldId="276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655530319" sldId="277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203755546" sldId="278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030480184" sldId="279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352267067" sldId="280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807912211" sldId="281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4204543332" sldId="285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968629175" sldId="286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417457506" sldId="287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4047511649" sldId="288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441035220" sldId="289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317123074" sldId="290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899430518" sldId="291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021585982" sldId="292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077024806" sldId="293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173779240" sldId="294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14765325" sldId="295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358106538" sldId="296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098163267" sldId="297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4052364133" sldId="298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820534023" sldId="299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138502064" sldId="300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4187142019" sldId="301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199056293" sldId="302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275038113" sldId="303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830813327" sldId="304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370167106" sldId="305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79895283" sldId="306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474066143" sldId="307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2741710673" sldId="308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488790838" sldId="309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481860358" sldId="310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3929768674" sldId="311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566959530" sldId="312"/>
        </pc:sldMkLst>
      </pc:sldChg>
      <pc:sldChg chg="del">
        <pc:chgData name="Hodinka Michal" userId="98db5e35-3b01-412d-8832-19059cf13f0a" providerId="ADAL" clId="{4DACDCEB-E576-4F83-A3E1-E9AD581636C3}" dt="2022-11-24T22:27:30.393" v="3202" actId="47"/>
        <pc:sldMkLst>
          <pc:docMk/>
          <pc:sldMk cId="1587488215" sldId="313"/>
        </pc:sldMkLst>
      </pc:sldChg>
      <pc:sldChg chg="modSp mod delCm modCm modNotesTx">
        <pc:chgData name="Hodinka Michal" userId="98db5e35-3b01-412d-8832-19059cf13f0a" providerId="ADAL" clId="{4DACDCEB-E576-4F83-A3E1-E9AD581636C3}" dt="2022-11-24T22:17:51.352" v="3188"/>
        <pc:sldMkLst>
          <pc:docMk/>
          <pc:sldMk cId="1077081780" sldId="314"/>
        </pc:sldMkLst>
        <pc:spChg chg="mod">
          <ac:chgData name="Hodinka Michal" userId="98db5e35-3b01-412d-8832-19059cf13f0a" providerId="ADAL" clId="{4DACDCEB-E576-4F83-A3E1-E9AD581636C3}" dt="2022-11-24T22:17:48.151" v="3187" actId="20577"/>
          <ac:spMkLst>
            <pc:docMk/>
            <pc:sldMk cId="1077081780" sldId="314"/>
            <ac:spMk id="13" creationId="{3347C11E-3A92-4635-8BD7-E1F48ADB3695}"/>
          </ac:spMkLst>
        </pc:spChg>
      </pc:sldChg>
      <pc:sldChg chg="addSp delSp modSp mod modNotesTx">
        <pc:chgData name="Hodinka Michal" userId="98db5e35-3b01-412d-8832-19059cf13f0a" providerId="ADAL" clId="{4DACDCEB-E576-4F83-A3E1-E9AD581636C3}" dt="2022-11-24T22:17:36.192" v="3186" actId="1440"/>
        <pc:sldMkLst>
          <pc:docMk/>
          <pc:sldMk cId="3900715308" sldId="315"/>
        </pc:sldMkLst>
        <pc:spChg chg="del">
          <ac:chgData name="Hodinka Michal" userId="98db5e35-3b01-412d-8832-19059cf13f0a" providerId="ADAL" clId="{4DACDCEB-E576-4F83-A3E1-E9AD581636C3}" dt="2022-11-24T22:16:44.757" v="3183" actId="478"/>
          <ac:spMkLst>
            <pc:docMk/>
            <pc:sldMk cId="3900715308" sldId="315"/>
            <ac:spMk id="2" creationId="{99E5CA97-F3F2-49CE-BAFD-593491C8B935}"/>
          </ac:spMkLst>
        </pc:spChg>
        <pc:picChg chg="add mod">
          <ac:chgData name="Hodinka Michal" userId="98db5e35-3b01-412d-8832-19059cf13f0a" providerId="ADAL" clId="{4DACDCEB-E576-4F83-A3E1-E9AD581636C3}" dt="2022-11-15T14:21:33.078" v="470" actId="1076"/>
          <ac:picMkLst>
            <pc:docMk/>
            <pc:sldMk cId="3900715308" sldId="315"/>
            <ac:picMk id="5" creationId="{945ED7E3-35D4-45FD-AA99-2CF9FB438691}"/>
          </ac:picMkLst>
        </pc:picChg>
        <pc:picChg chg="mod">
          <ac:chgData name="Hodinka Michal" userId="98db5e35-3b01-412d-8832-19059cf13f0a" providerId="ADAL" clId="{4DACDCEB-E576-4F83-A3E1-E9AD581636C3}" dt="2022-11-24T22:17:36.192" v="3186" actId="1440"/>
          <ac:picMkLst>
            <pc:docMk/>
            <pc:sldMk cId="3900715308" sldId="315"/>
            <ac:picMk id="6" creationId="{260E4812-99D2-403E-B32C-431E4783A399}"/>
          </ac:picMkLst>
        </pc:picChg>
      </pc:sldChg>
      <pc:sldChg chg="addSp modSp mod modNotesTx">
        <pc:chgData name="Hodinka Michal" userId="98db5e35-3b01-412d-8832-19059cf13f0a" providerId="ADAL" clId="{4DACDCEB-E576-4F83-A3E1-E9AD581636C3}" dt="2022-11-21T09:22:37.817" v="1489" actId="6549"/>
        <pc:sldMkLst>
          <pc:docMk/>
          <pc:sldMk cId="114741274" sldId="316"/>
        </pc:sldMkLst>
        <pc:picChg chg="add mod">
          <ac:chgData name="Hodinka Michal" userId="98db5e35-3b01-412d-8832-19059cf13f0a" providerId="ADAL" clId="{4DACDCEB-E576-4F83-A3E1-E9AD581636C3}" dt="2022-11-19T11:56:53.852" v="698" actId="1076"/>
          <ac:picMkLst>
            <pc:docMk/>
            <pc:sldMk cId="114741274" sldId="316"/>
            <ac:picMk id="3" creationId="{3574F3EA-1C88-409C-B335-13FD1AB42B19}"/>
          </ac:picMkLst>
        </pc:picChg>
        <pc:picChg chg="add mod">
          <ac:chgData name="Hodinka Michal" userId="98db5e35-3b01-412d-8832-19059cf13f0a" providerId="ADAL" clId="{4DACDCEB-E576-4F83-A3E1-E9AD581636C3}" dt="2022-11-19T12:00:02.932" v="705" actId="1076"/>
          <ac:picMkLst>
            <pc:docMk/>
            <pc:sldMk cId="114741274" sldId="316"/>
            <ac:picMk id="6" creationId="{245CD359-0558-4E06-A3EE-77A92A411A41}"/>
          </ac:picMkLst>
        </pc:picChg>
      </pc:sldChg>
      <pc:sldChg chg="addSp modSp mod modNotesTx">
        <pc:chgData name="Hodinka Michal" userId="98db5e35-3b01-412d-8832-19059cf13f0a" providerId="ADAL" clId="{4DACDCEB-E576-4F83-A3E1-E9AD581636C3}" dt="2022-11-21T09:23:02.867" v="1497" actId="113"/>
        <pc:sldMkLst>
          <pc:docMk/>
          <pc:sldMk cId="987638889" sldId="317"/>
        </pc:sldMkLst>
        <pc:picChg chg="add mod">
          <ac:chgData name="Hodinka Michal" userId="98db5e35-3b01-412d-8832-19059cf13f0a" providerId="ADAL" clId="{4DACDCEB-E576-4F83-A3E1-E9AD581636C3}" dt="2022-11-19T11:57:17.181" v="701" actId="1076"/>
          <ac:picMkLst>
            <pc:docMk/>
            <pc:sldMk cId="987638889" sldId="317"/>
            <ac:picMk id="3" creationId="{CCF09636-7D68-4D29-896B-BAE20C97981E}"/>
          </ac:picMkLst>
        </pc:picChg>
      </pc:sldChg>
      <pc:sldChg chg="delSp modSp mod delCm modNotesTx">
        <pc:chgData name="Hodinka Michal" userId="98db5e35-3b01-412d-8832-19059cf13f0a" providerId="ADAL" clId="{4DACDCEB-E576-4F83-A3E1-E9AD581636C3}" dt="2022-11-24T22:12:44.724" v="3161" actId="478"/>
        <pc:sldMkLst>
          <pc:docMk/>
          <pc:sldMk cId="1925916913" sldId="319"/>
        </pc:sldMkLst>
        <pc:spChg chg="del">
          <ac:chgData name="Hodinka Michal" userId="98db5e35-3b01-412d-8832-19059cf13f0a" providerId="ADAL" clId="{4DACDCEB-E576-4F83-A3E1-E9AD581636C3}" dt="2022-11-24T22:12:44.724" v="3161" actId="478"/>
          <ac:spMkLst>
            <pc:docMk/>
            <pc:sldMk cId="1925916913" sldId="319"/>
            <ac:spMk id="2" creationId="{CDAF4CFA-F2CC-431B-B015-F3DB683C9B6C}"/>
          </ac:spMkLst>
        </pc:spChg>
        <pc:graphicFrameChg chg="del mod modGraphic">
          <ac:chgData name="Hodinka Michal" userId="98db5e35-3b01-412d-8832-19059cf13f0a" providerId="ADAL" clId="{4DACDCEB-E576-4F83-A3E1-E9AD581636C3}" dt="2022-11-11T19:34:22.776" v="130" actId="478"/>
          <ac:graphicFrameMkLst>
            <pc:docMk/>
            <pc:sldMk cId="1925916913" sldId="319"/>
            <ac:graphicFrameMk id="4" creationId="{85EB5A09-696C-4C45-9DE2-27290263FCDF}"/>
          </ac:graphicFrameMkLst>
        </pc:graphicFrameChg>
        <pc:picChg chg="mod">
          <ac:chgData name="Hodinka Michal" userId="98db5e35-3b01-412d-8832-19059cf13f0a" providerId="ADAL" clId="{4DACDCEB-E576-4F83-A3E1-E9AD581636C3}" dt="2022-11-17T20:43:47.058" v="507" actId="1076"/>
          <ac:picMkLst>
            <pc:docMk/>
            <pc:sldMk cId="1925916913" sldId="319"/>
            <ac:picMk id="5" creationId="{924CAC7A-669E-4604-A234-9C657F9F8BFC}"/>
          </ac:picMkLst>
        </pc:picChg>
        <pc:picChg chg="del mod">
          <ac:chgData name="Hodinka Michal" userId="98db5e35-3b01-412d-8832-19059cf13f0a" providerId="ADAL" clId="{4DACDCEB-E576-4F83-A3E1-E9AD581636C3}" dt="2022-11-15T14:02:48.426" v="298" actId="478"/>
          <ac:picMkLst>
            <pc:docMk/>
            <pc:sldMk cId="1925916913" sldId="319"/>
            <ac:picMk id="6" creationId="{F9A578E5-AF78-4654-A412-0F4B5C525B08}"/>
          </ac:picMkLst>
        </pc:picChg>
        <pc:picChg chg="del mod">
          <ac:chgData name="Hodinka Michal" userId="98db5e35-3b01-412d-8832-19059cf13f0a" providerId="ADAL" clId="{4DACDCEB-E576-4F83-A3E1-E9AD581636C3}" dt="2022-11-15T14:02:50.368" v="300" actId="478"/>
          <ac:picMkLst>
            <pc:docMk/>
            <pc:sldMk cId="1925916913" sldId="319"/>
            <ac:picMk id="8" creationId="{B094B1BD-33E7-4EE4-ACF0-E7B0F300D632}"/>
          </ac:picMkLst>
        </pc:picChg>
        <pc:picChg chg="del mod">
          <ac:chgData name="Hodinka Michal" userId="98db5e35-3b01-412d-8832-19059cf13f0a" providerId="ADAL" clId="{4DACDCEB-E576-4F83-A3E1-E9AD581636C3}" dt="2022-11-17T20:43:31.903" v="505" actId="478"/>
          <ac:picMkLst>
            <pc:docMk/>
            <pc:sldMk cId="1925916913" sldId="319"/>
            <ac:picMk id="13" creationId="{EF045A14-D8DD-461A-85E4-BAA838EADE06}"/>
          </ac:picMkLst>
        </pc:picChg>
        <pc:picChg chg="del">
          <ac:chgData name="Hodinka Michal" userId="98db5e35-3b01-412d-8832-19059cf13f0a" providerId="ADAL" clId="{4DACDCEB-E576-4F83-A3E1-E9AD581636C3}" dt="2022-11-20T12:25:06.363" v="709" actId="478"/>
          <ac:picMkLst>
            <pc:docMk/>
            <pc:sldMk cId="1925916913" sldId="319"/>
            <ac:picMk id="3074" creationId="{803E549C-2EDC-46A6-9E83-E83AC984D24E}"/>
          </ac:picMkLst>
        </pc:picChg>
      </pc:sldChg>
      <pc:sldChg chg="addSp delSp modSp mod">
        <pc:chgData name="Hodinka Michal" userId="98db5e35-3b01-412d-8832-19059cf13f0a" providerId="ADAL" clId="{4DACDCEB-E576-4F83-A3E1-E9AD581636C3}" dt="2022-11-24T22:21:48.451" v="3198" actId="14100"/>
        <pc:sldMkLst>
          <pc:docMk/>
          <pc:sldMk cId="588059555" sldId="320"/>
        </pc:sldMkLst>
        <pc:spChg chg="mod">
          <ac:chgData name="Hodinka Michal" userId="98db5e35-3b01-412d-8832-19059cf13f0a" providerId="ADAL" clId="{4DACDCEB-E576-4F83-A3E1-E9AD581636C3}" dt="2022-11-15T14:22:26.872" v="484" actId="6549"/>
          <ac:spMkLst>
            <pc:docMk/>
            <pc:sldMk cId="588059555" sldId="320"/>
            <ac:spMk id="5" creationId="{0FC6CDA0-4F53-4018-887F-5487ED53204D}"/>
          </ac:spMkLst>
        </pc:spChg>
        <pc:picChg chg="add del mod">
          <ac:chgData name="Hodinka Michal" userId="98db5e35-3b01-412d-8832-19059cf13f0a" providerId="ADAL" clId="{4DACDCEB-E576-4F83-A3E1-E9AD581636C3}" dt="2022-11-11T08:46:24.918" v="88" actId="478"/>
          <ac:picMkLst>
            <pc:docMk/>
            <pc:sldMk cId="588059555" sldId="320"/>
            <ac:picMk id="7" creationId="{3849C63C-A860-42E1-A8F5-88494B9296C4}"/>
          </ac:picMkLst>
        </pc:picChg>
        <pc:picChg chg="del mod">
          <ac:chgData name="Hodinka Michal" userId="98db5e35-3b01-412d-8832-19059cf13f0a" providerId="ADAL" clId="{4DACDCEB-E576-4F83-A3E1-E9AD581636C3}" dt="2022-11-24T22:21:33.432" v="3193" actId="478"/>
          <ac:picMkLst>
            <pc:docMk/>
            <pc:sldMk cId="588059555" sldId="320"/>
            <ac:picMk id="7" creationId="{757AE2CE-F2E0-4B7C-BE39-D2A9204BCBBE}"/>
          </ac:picMkLst>
        </pc:picChg>
        <pc:picChg chg="add mod">
          <ac:chgData name="Hodinka Michal" userId="98db5e35-3b01-412d-8832-19059cf13f0a" providerId="ADAL" clId="{4DACDCEB-E576-4F83-A3E1-E9AD581636C3}" dt="2022-11-24T22:21:48.451" v="3198" actId="14100"/>
          <ac:picMkLst>
            <pc:docMk/>
            <pc:sldMk cId="588059555" sldId="320"/>
            <ac:picMk id="8" creationId="{505C0489-33D0-4306-B16B-EB9EB2E6A483}"/>
          </ac:picMkLst>
        </pc:picChg>
        <pc:picChg chg="del">
          <ac:chgData name="Hodinka Michal" userId="98db5e35-3b01-412d-8832-19059cf13f0a" providerId="ADAL" clId="{4DACDCEB-E576-4F83-A3E1-E9AD581636C3}" dt="2022-11-11T08:25:01.754" v="83" actId="478"/>
          <ac:picMkLst>
            <pc:docMk/>
            <pc:sldMk cId="588059555" sldId="320"/>
            <ac:picMk id="9" creationId="{0FDAF604-AF77-4722-B751-0E4CC7B69A3A}"/>
          </ac:picMkLst>
        </pc:picChg>
        <pc:picChg chg="add del mod">
          <ac:chgData name="Hodinka Michal" userId="98db5e35-3b01-412d-8832-19059cf13f0a" providerId="ADAL" clId="{4DACDCEB-E576-4F83-A3E1-E9AD581636C3}" dt="2022-11-11T19:35:21.753" v="134" actId="478"/>
          <ac:picMkLst>
            <pc:docMk/>
            <pc:sldMk cId="588059555" sldId="320"/>
            <ac:picMk id="10" creationId="{42847584-6BAE-4F31-B23D-C2A8C6398F0F}"/>
          </ac:picMkLst>
        </pc:picChg>
      </pc:sldChg>
      <pc:sldChg chg="addSp delSp modSp mod delCm modNotesTx">
        <pc:chgData name="Hodinka Michal" userId="98db5e35-3b01-412d-8832-19059cf13f0a" providerId="ADAL" clId="{4DACDCEB-E576-4F83-A3E1-E9AD581636C3}" dt="2022-11-24T22:16:35.665" v="3182"/>
        <pc:sldMkLst>
          <pc:docMk/>
          <pc:sldMk cId="1952072441" sldId="321"/>
        </pc:sldMkLst>
        <pc:spChg chg="del mod">
          <ac:chgData name="Hodinka Michal" userId="98db5e35-3b01-412d-8832-19059cf13f0a" providerId="ADAL" clId="{4DACDCEB-E576-4F83-A3E1-E9AD581636C3}" dt="2022-11-24T22:16:32.679" v="3181" actId="478"/>
          <ac:spMkLst>
            <pc:docMk/>
            <pc:sldMk cId="1952072441" sldId="321"/>
            <ac:spMk id="2" creationId="{CDAF4CFA-F2CC-431B-B015-F3DB683C9B6C}"/>
          </ac:spMkLst>
        </pc:spChg>
        <pc:picChg chg="mod">
          <ac:chgData name="Hodinka Michal" userId="98db5e35-3b01-412d-8832-19059cf13f0a" providerId="ADAL" clId="{4DACDCEB-E576-4F83-A3E1-E9AD581636C3}" dt="2022-11-20T12:29:26.649" v="774" actId="14100"/>
          <ac:picMkLst>
            <pc:docMk/>
            <pc:sldMk cId="1952072441" sldId="321"/>
            <ac:picMk id="5" creationId="{582C1F3C-C4F2-44C1-9E02-F1370DBA7800}"/>
          </ac:picMkLst>
        </pc:picChg>
        <pc:picChg chg="add del mod">
          <ac:chgData name="Hodinka Michal" userId="98db5e35-3b01-412d-8832-19059cf13f0a" providerId="ADAL" clId="{4DACDCEB-E576-4F83-A3E1-E9AD581636C3}" dt="2022-11-24T22:16:18.543" v="3175" actId="478"/>
          <ac:picMkLst>
            <pc:docMk/>
            <pc:sldMk cId="1952072441" sldId="321"/>
            <ac:picMk id="5" creationId="{B7F06D92-A3F9-4EF9-90DC-FECC6D302EB9}"/>
          </ac:picMkLst>
        </pc:picChg>
        <pc:picChg chg="add mod">
          <ac:chgData name="Hodinka Michal" userId="98db5e35-3b01-412d-8832-19059cf13f0a" providerId="ADAL" clId="{4DACDCEB-E576-4F83-A3E1-E9AD581636C3}" dt="2022-11-24T22:16:28.524" v="3178" actId="1076"/>
          <ac:picMkLst>
            <pc:docMk/>
            <pc:sldMk cId="1952072441" sldId="321"/>
            <ac:picMk id="6" creationId="{32189C59-B7CD-413A-8EBB-4F341EF6AFBC}"/>
          </ac:picMkLst>
        </pc:picChg>
        <pc:picChg chg="del">
          <ac:chgData name="Hodinka Michal" userId="98db5e35-3b01-412d-8832-19059cf13f0a" providerId="ADAL" clId="{4DACDCEB-E576-4F83-A3E1-E9AD581636C3}" dt="2022-11-22T18:54:28.636" v="3156" actId="478"/>
          <ac:picMkLst>
            <pc:docMk/>
            <pc:sldMk cId="1952072441" sldId="321"/>
            <ac:picMk id="6" creationId="{85F23A53-EF0E-49F2-B3E0-C55ED849B0C0}"/>
          </ac:picMkLst>
        </pc:picChg>
      </pc:sldChg>
      <pc:sldChg chg="modSp mod">
        <pc:chgData name="Hodinka Michal" userId="98db5e35-3b01-412d-8832-19059cf13f0a" providerId="ADAL" clId="{4DACDCEB-E576-4F83-A3E1-E9AD581636C3}" dt="2022-11-15T14:06:35.910" v="347" actId="20577"/>
        <pc:sldMkLst>
          <pc:docMk/>
          <pc:sldMk cId="3733551867" sldId="322"/>
        </pc:sldMkLst>
        <pc:spChg chg="mod">
          <ac:chgData name="Hodinka Michal" userId="98db5e35-3b01-412d-8832-19059cf13f0a" providerId="ADAL" clId="{4DACDCEB-E576-4F83-A3E1-E9AD581636C3}" dt="2022-11-15T14:06:35.910" v="347" actId="20577"/>
          <ac:spMkLst>
            <pc:docMk/>
            <pc:sldMk cId="3733551867" sldId="322"/>
            <ac:spMk id="7" creationId="{B56B984E-4C45-468E-8D1A-297CCB6DFA39}"/>
          </ac:spMkLst>
        </pc:spChg>
      </pc:sldChg>
      <pc:sldChg chg="addSp delSp modSp mod delCm modNotesTx">
        <pc:chgData name="Hodinka Michal" userId="98db5e35-3b01-412d-8832-19059cf13f0a" providerId="ADAL" clId="{4DACDCEB-E576-4F83-A3E1-E9AD581636C3}" dt="2022-11-24T22:21:12.384" v="3192" actId="1076"/>
        <pc:sldMkLst>
          <pc:docMk/>
          <pc:sldMk cId="3959646481" sldId="323"/>
        </pc:sldMkLst>
        <pc:spChg chg="del">
          <ac:chgData name="Hodinka Michal" userId="98db5e35-3b01-412d-8832-19059cf13f0a" providerId="ADAL" clId="{4DACDCEB-E576-4F83-A3E1-E9AD581636C3}" dt="2022-11-24T22:13:40.652" v="3174" actId="478"/>
          <ac:spMkLst>
            <pc:docMk/>
            <pc:sldMk cId="3959646481" sldId="323"/>
            <ac:spMk id="2" creationId="{3CFBB558-5E3F-4D6A-A905-1A7DE440AD61}"/>
          </ac:spMkLst>
        </pc:spChg>
        <pc:spChg chg="mod">
          <ac:chgData name="Hodinka Michal" userId="98db5e35-3b01-412d-8832-19059cf13f0a" providerId="ADAL" clId="{4DACDCEB-E576-4F83-A3E1-E9AD581636C3}" dt="2022-11-24T22:13:37.321" v="3173" actId="14100"/>
          <ac:spMkLst>
            <pc:docMk/>
            <pc:sldMk cId="3959646481" sldId="323"/>
            <ac:spMk id="4" creationId="{E24D1D3D-A879-4342-BF51-DA0D6990CDC6}"/>
          </ac:spMkLst>
        </pc:spChg>
        <pc:picChg chg="add mod">
          <ac:chgData name="Hodinka Michal" userId="98db5e35-3b01-412d-8832-19059cf13f0a" providerId="ADAL" clId="{4DACDCEB-E576-4F83-A3E1-E9AD581636C3}" dt="2022-11-24T22:21:12.384" v="3192" actId="1076"/>
          <ac:picMkLst>
            <pc:docMk/>
            <pc:sldMk cId="3959646481" sldId="323"/>
            <ac:picMk id="7" creationId="{158991E9-D50E-48D1-9758-1330E0B7E56D}"/>
          </ac:picMkLst>
        </pc:picChg>
        <pc:picChg chg="del mod">
          <ac:chgData name="Hodinka Michal" userId="98db5e35-3b01-412d-8832-19059cf13f0a" providerId="ADAL" clId="{4DACDCEB-E576-4F83-A3E1-E9AD581636C3}" dt="2022-11-24T22:21:07.881" v="3190" actId="478"/>
          <ac:picMkLst>
            <pc:docMk/>
            <pc:sldMk cId="3959646481" sldId="323"/>
            <ac:picMk id="8" creationId="{D2B1AE60-C77E-4008-B302-B73B939B375D}"/>
          </ac:picMkLst>
        </pc:picChg>
      </pc:sldChg>
      <pc:sldChg chg="ord">
        <pc:chgData name="Hodinka Michal" userId="98db5e35-3b01-412d-8832-19059cf13f0a" providerId="ADAL" clId="{4DACDCEB-E576-4F83-A3E1-E9AD581636C3}" dt="2022-11-11T08:22:57.226" v="82"/>
        <pc:sldMkLst>
          <pc:docMk/>
          <pc:sldMk cId="62660920" sldId="324"/>
        </pc:sldMkLst>
      </pc:sldChg>
      <pc:sldChg chg="addSp delSp modSp new mod ord modNotesTx">
        <pc:chgData name="Hodinka Michal" userId="98db5e35-3b01-412d-8832-19059cf13f0a" providerId="ADAL" clId="{4DACDCEB-E576-4F83-A3E1-E9AD581636C3}" dt="2022-11-21T12:15:49.237" v="3155" actId="478"/>
        <pc:sldMkLst>
          <pc:docMk/>
          <pc:sldMk cId="1951306199" sldId="325"/>
        </pc:sldMkLst>
        <pc:spChg chg="del">
          <ac:chgData name="Hodinka Michal" userId="98db5e35-3b01-412d-8832-19059cf13f0a" providerId="ADAL" clId="{4DACDCEB-E576-4F83-A3E1-E9AD581636C3}" dt="2022-11-10T19:18:13.739" v="11" actId="478"/>
          <ac:spMkLst>
            <pc:docMk/>
            <pc:sldMk cId="1951306199" sldId="325"/>
            <ac:spMk id="2" creationId="{454D86D3-5964-478D-9DF9-D1431872ADC2}"/>
          </ac:spMkLst>
        </pc:spChg>
        <pc:spChg chg="add del mod">
          <ac:chgData name="Hodinka Michal" userId="98db5e35-3b01-412d-8832-19059cf13f0a" providerId="ADAL" clId="{4DACDCEB-E576-4F83-A3E1-E9AD581636C3}" dt="2022-11-15T14:04:12.652" v="319" actId="478"/>
          <ac:spMkLst>
            <pc:docMk/>
            <pc:sldMk cId="1951306199" sldId="325"/>
            <ac:spMk id="3" creationId="{4DAB1869-1B0D-4618-88DE-86A42E903052}"/>
          </ac:spMkLst>
        </pc:spChg>
        <pc:spChg chg="add del mod">
          <ac:chgData name="Hodinka Michal" userId="98db5e35-3b01-412d-8832-19059cf13f0a" providerId="ADAL" clId="{4DACDCEB-E576-4F83-A3E1-E9AD581636C3}" dt="2022-11-17T20:45:02.070" v="511"/>
          <ac:spMkLst>
            <pc:docMk/>
            <pc:sldMk cId="1951306199" sldId="325"/>
            <ac:spMk id="5" creationId="{C9922539-9DB0-4BF1-B45E-2E43970ADBA1}"/>
          </ac:spMkLst>
        </pc:spChg>
        <pc:spChg chg="add mod">
          <ac:chgData name="Hodinka Michal" userId="98db5e35-3b01-412d-8832-19059cf13f0a" providerId="ADAL" clId="{4DACDCEB-E576-4F83-A3E1-E9AD581636C3}" dt="2022-11-17T20:45:41.604" v="521" actId="6549"/>
          <ac:spMkLst>
            <pc:docMk/>
            <pc:sldMk cId="1951306199" sldId="325"/>
            <ac:spMk id="6" creationId="{34CEEE35-A428-4427-80D1-41F83FFDB901}"/>
          </ac:spMkLst>
        </pc:spChg>
        <pc:spChg chg="add del mod">
          <ac:chgData name="Hodinka Michal" userId="98db5e35-3b01-412d-8832-19059cf13f0a" providerId="ADAL" clId="{4DACDCEB-E576-4F83-A3E1-E9AD581636C3}" dt="2022-11-15T14:03:56.044" v="314" actId="478"/>
          <ac:spMkLst>
            <pc:docMk/>
            <pc:sldMk cId="1951306199" sldId="325"/>
            <ac:spMk id="6" creationId="{B0447A90-595F-4E53-B202-090B5F0F6605}"/>
          </ac:spMkLst>
        </pc:spChg>
        <pc:picChg chg="add del mod">
          <ac:chgData name="Hodinka Michal" userId="98db5e35-3b01-412d-8832-19059cf13f0a" providerId="ADAL" clId="{4DACDCEB-E576-4F83-A3E1-E9AD581636C3}" dt="2022-11-21T12:15:49.237" v="3155" actId="478"/>
          <ac:picMkLst>
            <pc:docMk/>
            <pc:sldMk cId="1951306199" sldId="325"/>
            <ac:picMk id="3" creationId="{4AE90C3C-B9E6-434F-AB00-74280E0BE1DE}"/>
          </ac:picMkLst>
        </pc:picChg>
        <pc:picChg chg="add del mod ord">
          <ac:chgData name="Hodinka Michal" userId="98db5e35-3b01-412d-8832-19059cf13f0a" providerId="ADAL" clId="{4DACDCEB-E576-4F83-A3E1-E9AD581636C3}" dt="2022-11-17T20:46:40.151" v="530" actId="1076"/>
          <ac:picMkLst>
            <pc:docMk/>
            <pc:sldMk cId="1951306199" sldId="325"/>
            <ac:picMk id="4" creationId="{32372881-796A-4E8F-8182-7ABC39108F72}"/>
          </ac:picMkLst>
        </pc:picChg>
        <pc:picChg chg="add del mod">
          <ac:chgData name="Hodinka Michal" userId="98db5e35-3b01-412d-8832-19059cf13f0a" providerId="ADAL" clId="{4DACDCEB-E576-4F83-A3E1-E9AD581636C3}" dt="2022-11-15T13:52:51.610" v="288" actId="478"/>
          <ac:picMkLst>
            <pc:docMk/>
            <pc:sldMk cId="1951306199" sldId="325"/>
            <ac:picMk id="5" creationId="{7F80D390-9949-464A-A0B6-EE6C0644444C}"/>
          </ac:picMkLst>
        </pc:picChg>
        <pc:picChg chg="add del mod">
          <ac:chgData name="Hodinka Michal" userId="98db5e35-3b01-412d-8832-19059cf13f0a" providerId="ADAL" clId="{4DACDCEB-E576-4F83-A3E1-E9AD581636C3}" dt="2022-11-10T19:21:53.397" v="17" actId="478"/>
          <ac:picMkLst>
            <pc:docMk/>
            <pc:sldMk cId="1951306199" sldId="325"/>
            <ac:picMk id="6" creationId="{5D651599-5D9B-4A3F-9211-B846BA0B1C72}"/>
          </ac:picMkLst>
        </pc:picChg>
        <pc:picChg chg="add mod">
          <ac:chgData name="Hodinka Michal" userId="98db5e35-3b01-412d-8832-19059cf13f0a" providerId="ADAL" clId="{4DACDCEB-E576-4F83-A3E1-E9AD581636C3}" dt="2022-11-17T20:46:42.417" v="531" actId="1076"/>
          <ac:picMkLst>
            <pc:docMk/>
            <pc:sldMk cId="1951306199" sldId="325"/>
            <ac:picMk id="8" creationId="{95B4EAA8-12AF-46C3-92F2-7227425DAE4E}"/>
          </ac:picMkLst>
        </pc:picChg>
        <pc:picChg chg="add del mod">
          <ac:chgData name="Hodinka Michal" userId="98db5e35-3b01-412d-8832-19059cf13f0a" providerId="ADAL" clId="{4DACDCEB-E576-4F83-A3E1-E9AD581636C3}" dt="2022-11-15T13:52:45.532" v="286" actId="478"/>
          <ac:picMkLst>
            <pc:docMk/>
            <pc:sldMk cId="1951306199" sldId="325"/>
            <ac:picMk id="10" creationId="{4921DECB-18CC-4F3F-8BB6-B0CA5A94D1B6}"/>
          </ac:picMkLst>
        </pc:picChg>
      </pc:sldChg>
      <pc:sldChg chg="addSp modSp new del mod">
        <pc:chgData name="Hodinka Michal" userId="98db5e35-3b01-412d-8832-19059cf13f0a" providerId="ADAL" clId="{4DACDCEB-E576-4F83-A3E1-E9AD581636C3}" dt="2022-11-10T19:18:00.497" v="8" actId="47"/>
        <pc:sldMkLst>
          <pc:docMk/>
          <pc:sldMk cId="2275838701" sldId="325"/>
        </pc:sldMkLst>
        <pc:picChg chg="add mod">
          <ac:chgData name="Hodinka Michal" userId="98db5e35-3b01-412d-8832-19059cf13f0a" providerId="ADAL" clId="{4DACDCEB-E576-4F83-A3E1-E9AD581636C3}" dt="2022-11-10T19:17:58.749" v="7" actId="1076"/>
          <ac:picMkLst>
            <pc:docMk/>
            <pc:sldMk cId="2275838701" sldId="325"/>
            <ac:picMk id="4" creationId="{15C4F7BF-CAED-4E6D-8FCB-0519EDA3A1ED}"/>
          </ac:picMkLst>
        </pc:picChg>
      </pc:sldChg>
      <pc:sldChg chg="modSp new mod ord modNotesTx">
        <pc:chgData name="Hodinka Michal" userId="98db5e35-3b01-412d-8832-19059cf13f0a" providerId="ADAL" clId="{4DACDCEB-E576-4F83-A3E1-E9AD581636C3}" dt="2022-11-20T12:39:35.134" v="1067" actId="6549"/>
        <pc:sldMkLst>
          <pc:docMk/>
          <pc:sldMk cId="1032059619" sldId="326"/>
        </pc:sldMkLst>
        <pc:spChg chg="mod">
          <ac:chgData name="Hodinka Michal" userId="98db5e35-3b01-412d-8832-19059cf13f0a" providerId="ADAL" clId="{4DACDCEB-E576-4F83-A3E1-E9AD581636C3}" dt="2022-11-12T08:31:41.241" v="284" actId="20577"/>
          <ac:spMkLst>
            <pc:docMk/>
            <pc:sldMk cId="1032059619" sldId="326"/>
            <ac:spMk id="4" creationId="{0D18F832-98C9-49D2-BB07-EC672A2ACEF7}"/>
          </ac:spMkLst>
        </pc:spChg>
        <pc:spChg chg="mod">
          <ac:chgData name="Hodinka Michal" userId="98db5e35-3b01-412d-8832-19059cf13f0a" providerId="ADAL" clId="{4DACDCEB-E576-4F83-A3E1-E9AD581636C3}" dt="2022-11-12T08:31:22.101" v="266" actId="20577"/>
          <ac:spMkLst>
            <pc:docMk/>
            <pc:sldMk cId="1032059619" sldId="326"/>
            <ac:spMk id="5" creationId="{45CF8E12-F997-407D-BBF1-49FB7B5BB455}"/>
          </ac:spMkLst>
        </pc:spChg>
      </pc:sldChg>
      <pc:sldChg chg="new del">
        <pc:chgData name="Hodinka Michal" userId="98db5e35-3b01-412d-8832-19059cf13f0a" providerId="ADAL" clId="{4DACDCEB-E576-4F83-A3E1-E9AD581636C3}" dt="2022-11-11T08:54:17.603" v="98" actId="47"/>
        <pc:sldMkLst>
          <pc:docMk/>
          <pc:sldMk cId="3703283099" sldId="326"/>
        </pc:sldMkLst>
      </pc:sldChg>
      <pc:sldChg chg="modSp add del mod modNotesTx">
        <pc:chgData name="Hodinka Michal" userId="98db5e35-3b01-412d-8832-19059cf13f0a" providerId="ADAL" clId="{4DACDCEB-E576-4F83-A3E1-E9AD581636C3}" dt="2022-11-24T22:27:30.393" v="3202" actId="47"/>
        <pc:sldMkLst>
          <pc:docMk/>
          <pc:sldMk cId="277043251" sldId="327"/>
        </pc:sldMkLst>
        <pc:spChg chg="mod">
          <ac:chgData name="Hodinka Michal" userId="98db5e35-3b01-412d-8832-19059cf13f0a" providerId="ADAL" clId="{4DACDCEB-E576-4F83-A3E1-E9AD581636C3}" dt="2022-11-12T08:11:56.777" v="142" actId="113"/>
          <ac:spMkLst>
            <pc:docMk/>
            <pc:sldMk cId="277043251" sldId="327"/>
            <ac:spMk id="16" creationId="{9945FF27-6E3E-467E-987E-7AEF67BCA877}"/>
          </ac:spMkLst>
        </pc:spChg>
        <pc:spChg chg="mod">
          <ac:chgData name="Hodinka Michal" userId="98db5e35-3b01-412d-8832-19059cf13f0a" providerId="ADAL" clId="{4DACDCEB-E576-4F83-A3E1-E9AD581636C3}" dt="2022-11-12T08:14:34.950" v="220" actId="14100"/>
          <ac:spMkLst>
            <pc:docMk/>
            <pc:sldMk cId="277043251" sldId="327"/>
            <ac:spMk id="17" creationId="{57014189-368E-423F-9B25-BC7C0F0A44F2}"/>
          </ac:spMkLst>
        </pc:spChg>
        <pc:spChg chg="mod">
          <ac:chgData name="Hodinka Michal" userId="98db5e35-3b01-412d-8832-19059cf13f0a" providerId="ADAL" clId="{4DACDCEB-E576-4F83-A3E1-E9AD581636C3}" dt="2022-11-12T08:16:44.268" v="244" actId="14100"/>
          <ac:spMkLst>
            <pc:docMk/>
            <pc:sldMk cId="277043251" sldId="327"/>
            <ac:spMk id="18" creationId="{85310A26-89DA-4D30-912F-EDC0A6CB4689}"/>
          </ac:spMkLst>
        </pc:spChg>
        <pc:spChg chg="mod">
          <ac:chgData name="Hodinka Michal" userId="98db5e35-3b01-412d-8832-19059cf13f0a" providerId="ADAL" clId="{4DACDCEB-E576-4F83-A3E1-E9AD581636C3}" dt="2022-11-12T08:12:33.136" v="164" actId="20577"/>
          <ac:spMkLst>
            <pc:docMk/>
            <pc:sldMk cId="277043251" sldId="327"/>
            <ac:spMk id="19" creationId="{C6BB9A96-5C77-4B45-8E4C-FF96CC381C18}"/>
          </ac:spMkLst>
        </pc:spChg>
      </pc:sldChg>
      <pc:sldChg chg="add del">
        <pc:chgData name="Hodinka Michal" userId="98db5e35-3b01-412d-8832-19059cf13f0a" providerId="ADAL" clId="{4DACDCEB-E576-4F83-A3E1-E9AD581636C3}" dt="2022-11-15T14:04:06.463" v="317"/>
        <pc:sldMkLst>
          <pc:docMk/>
          <pc:sldMk cId="664320047" sldId="328"/>
        </pc:sldMkLst>
      </pc:sldChg>
      <pc:sldChg chg="modNotesTx">
        <pc:chgData name="Hodinka Michal" userId="98db5e35-3b01-412d-8832-19059cf13f0a" providerId="ADAL" clId="{4DACDCEB-E576-4F83-A3E1-E9AD581636C3}" dt="2022-11-20T12:38:09.760" v="1051" actId="20577"/>
        <pc:sldMkLst>
          <pc:docMk/>
          <pc:sldMk cId="1558462109" sldId="329"/>
        </pc:sldMkLst>
      </pc:sldChg>
      <pc:sldChg chg="modNotesTx">
        <pc:chgData name="Hodinka Michal" userId="98db5e35-3b01-412d-8832-19059cf13f0a" providerId="ADAL" clId="{4DACDCEB-E576-4F83-A3E1-E9AD581636C3}" dt="2022-11-20T12:36:58.599" v="1044" actId="20577"/>
        <pc:sldMkLst>
          <pc:docMk/>
          <pc:sldMk cId="1716738584" sldId="330"/>
        </pc:sldMkLst>
      </pc:sldChg>
      <pc:sldChg chg="modSp mod">
        <pc:chgData name="Hodinka Michal" userId="98db5e35-3b01-412d-8832-19059cf13f0a" providerId="ADAL" clId="{4DACDCEB-E576-4F83-A3E1-E9AD581636C3}" dt="2022-11-24T22:22:23.643" v="3199" actId="20577"/>
        <pc:sldMkLst>
          <pc:docMk/>
          <pc:sldMk cId="1876871858" sldId="331"/>
        </pc:sldMkLst>
        <pc:graphicFrameChg chg="modGraphic">
          <ac:chgData name="Hodinka Michal" userId="98db5e35-3b01-412d-8832-19059cf13f0a" providerId="ADAL" clId="{4DACDCEB-E576-4F83-A3E1-E9AD581636C3}" dt="2022-11-24T22:22:23.643" v="3199" actId="20577"/>
          <ac:graphicFrameMkLst>
            <pc:docMk/>
            <pc:sldMk cId="1876871858" sldId="331"/>
            <ac:graphicFrameMk id="3" creationId="{AF2DDC0C-A55F-4B7C-8D4E-1CE274F2AB0A}"/>
          </ac:graphicFrameMkLst>
        </pc:graphicFrameChg>
      </pc:sldChg>
      <pc:sldChg chg="delSp mod modNotesTx">
        <pc:chgData name="Hodinka Michal" userId="98db5e35-3b01-412d-8832-19059cf13f0a" providerId="ADAL" clId="{4DACDCEB-E576-4F83-A3E1-E9AD581636C3}" dt="2022-11-24T22:18:10.301" v="3189" actId="478"/>
        <pc:sldMkLst>
          <pc:docMk/>
          <pc:sldMk cId="607505110" sldId="332"/>
        </pc:sldMkLst>
        <pc:spChg chg="del">
          <ac:chgData name="Hodinka Michal" userId="98db5e35-3b01-412d-8832-19059cf13f0a" providerId="ADAL" clId="{4DACDCEB-E576-4F83-A3E1-E9AD581636C3}" dt="2022-11-24T22:18:10.301" v="3189" actId="478"/>
          <ac:spMkLst>
            <pc:docMk/>
            <pc:sldMk cId="607505110" sldId="332"/>
            <ac:spMk id="3" creationId="{63F16D70-51B6-4DD8-A424-C09D14F8C1B0}"/>
          </ac:spMkLst>
        </pc:spChg>
      </pc:sldChg>
      <pc:sldChg chg="addSp delSp modSp new del mod ord">
        <pc:chgData name="Hodinka Michal" userId="98db5e35-3b01-412d-8832-19059cf13f0a" providerId="ADAL" clId="{4DACDCEB-E576-4F83-A3E1-E9AD581636C3}" dt="2022-11-20T12:25:54.520" v="722" actId="47"/>
        <pc:sldMkLst>
          <pc:docMk/>
          <pc:sldMk cId="1242223589" sldId="333"/>
        </pc:sldMkLst>
        <pc:spChg chg="del">
          <ac:chgData name="Hodinka Michal" userId="98db5e35-3b01-412d-8832-19059cf13f0a" providerId="ADAL" clId="{4DACDCEB-E576-4F83-A3E1-E9AD581636C3}" dt="2022-11-20T12:25:10.434" v="710" actId="478"/>
          <ac:spMkLst>
            <pc:docMk/>
            <pc:sldMk cId="1242223589" sldId="333"/>
            <ac:spMk id="2" creationId="{FAE552E0-3496-46F4-B310-CCD4110FBA2A}"/>
          </ac:spMkLst>
        </pc:spChg>
        <pc:spChg chg="del">
          <ac:chgData name="Hodinka Michal" userId="98db5e35-3b01-412d-8832-19059cf13f0a" providerId="ADAL" clId="{4DACDCEB-E576-4F83-A3E1-E9AD581636C3}" dt="2022-11-20T12:25:12.766" v="711" actId="478"/>
          <ac:spMkLst>
            <pc:docMk/>
            <pc:sldMk cId="1242223589" sldId="333"/>
            <ac:spMk id="3" creationId="{3342BF5F-1476-4AA1-9975-3F9EDC90C1BA}"/>
          </ac:spMkLst>
        </pc:spChg>
        <pc:picChg chg="add mod">
          <ac:chgData name="Hodinka Michal" userId="98db5e35-3b01-412d-8832-19059cf13f0a" providerId="ADAL" clId="{4DACDCEB-E576-4F83-A3E1-E9AD581636C3}" dt="2022-11-20T12:25:35.383" v="717" actId="1076"/>
          <ac:picMkLst>
            <pc:docMk/>
            <pc:sldMk cId="1242223589" sldId="333"/>
            <ac:picMk id="4" creationId="{E9822937-02F5-4479-9C31-77D59A4A178D}"/>
          </ac:picMkLst>
        </pc:picChg>
      </pc:sldChg>
      <pc:sldChg chg="addSp modSp new modNotesTx">
        <pc:chgData name="Hodinka Michal" userId="98db5e35-3b01-412d-8832-19059cf13f0a" providerId="ADAL" clId="{4DACDCEB-E576-4F83-A3E1-E9AD581636C3}" dt="2022-11-21T10:18:20.267" v="2001" actId="20577"/>
        <pc:sldMkLst>
          <pc:docMk/>
          <pc:sldMk cId="3298182271" sldId="334"/>
        </pc:sldMkLst>
        <pc:picChg chg="add mod">
          <ac:chgData name="Hodinka Michal" userId="98db5e35-3b01-412d-8832-19059cf13f0a" providerId="ADAL" clId="{4DACDCEB-E576-4F83-A3E1-E9AD581636C3}" dt="2022-11-20T12:25:59.993" v="723" actId="14100"/>
          <ac:picMkLst>
            <pc:docMk/>
            <pc:sldMk cId="3298182271" sldId="334"/>
            <ac:picMk id="4" creationId="{AC32BEB7-0E8F-4441-8810-5E8B8A8EFC8E}"/>
          </ac:picMkLst>
        </pc:picChg>
      </pc:sldChg>
      <pc:sldChg chg="new del">
        <pc:chgData name="Hodinka Michal" userId="98db5e35-3b01-412d-8832-19059cf13f0a" providerId="ADAL" clId="{4DACDCEB-E576-4F83-A3E1-E9AD581636C3}" dt="2022-11-24T22:27:20.259" v="3201" actId="47"/>
        <pc:sldMkLst>
          <pc:docMk/>
          <pc:sldMk cId="3199882552" sldId="335"/>
        </pc:sldMkLst>
      </pc:sldChg>
      <pc:sldChg chg="add del">
        <pc:chgData name="Hodinka Michal" userId="98db5e35-3b01-412d-8832-19059cf13f0a" providerId="ADAL" clId="{4DACDCEB-E576-4F83-A3E1-E9AD581636C3}" dt="2022-11-17T20:46:29.345" v="529" actId="47"/>
        <pc:sldMkLst>
          <pc:docMk/>
          <pc:sldMk cId="619477406" sldId="2134804311"/>
        </pc:sldMkLst>
      </pc:sldChg>
      <pc:sldMasterChg chg="delSldLayout">
        <pc:chgData name="Hodinka Michal" userId="98db5e35-3b01-412d-8832-19059cf13f0a" providerId="ADAL" clId="{4DACDCEB-E576-4F83-A3E1-E9AD581636C3}" dt="2022-11-17T20:46:29.345" v="529" actId="47"/>
        <pc:sldMasterMkLst>
          <pc:docMk/>
          <pc:sldMasterMk cId="1716046767" sldId="2147483648"/>
        </pc:sldMasterMkLst>
        <pc:sldLayoutChg chg="del">
          <pc:chgData name="Hodinka Michal" userId="98db5e35-3b01-412d-8832-19059cf13f0a" providerId="ADAL" clId="{4DACDCEB-E576-4F83-A3E1-E9AD581636C3}" dt="2022-11-17T20:46:29.345" v="529" actId="47"/>
          <pc:sldLayoutMkLst>
            <pc:docMk/>
            <pc:sldMasterMk cId="1716046767" sldId="2147483648"/>
            <pc:sldLayoutMk cId="3386210431" sldId="2147483766"/>
          </pc:sldLayoutMkLst>
        </pc:sldLayoutChg>
      </pc:sldMasterChg>
    </pc:docChg>
  </pc:docChgLst>
  <pc:docChgLst>
    <pc:chgData name="Hodinka Michal" userId="98db5e35-3b01-412d-8832-19059cf13f0a" providerId="ADAL" clId="{8F63088A-42F4-49BA-AA64-332D4AB8EC9E}"/>
    <pc:docChg chg="undo redo custSel addSld delSld modSld sldOrd">
      <pc:chgData name="Hodinka Michal" userId="98db5e35-3b01-412d-8832-19059cf13f0a" providerId="ADAL" clId="{8F63088A-42F4-49BA-AA64-332D4AB8EC9E}" dt="2022-11-10T18:43:45.623" v="1135" actId="13822"/>
      <pc:docMkLst>
        <pc:docMk/>
      </pc:docMkLst>
      <pc:sldChg chg="modSp mod">
        <pc:chgData name="Hodinka Michal" userId="98db5e35-3b01-412d-8832-19059cf13f0a" providerId="ADAL" clId="{8F63088A-42F4-49BA-AA64-332D4AB8EC9E}" dt="2022-11-10T17:08:55.974" v="84" actId="20577"/>
        <pc:sldMkLst>
          <pc:docMk/>
          <pc:sldMk cId="2689160453" sldId="256"/>
        </pc:sldMkLst>
        <pc:spChg chg="mod">
          <ac:chgData name="Hodinka Michal" userId="98db5e35-3b01-412d-8832-19059cf13f0a" providerId="ADAL" clId="{8F63088A-42F4-49BA-AA64-332D4AB8EC9E}" dt="2022-11-10T17:08:55.974" v="84" actId="20577"/>
          <ac:spMkLst>
            <pc:docMk/>
            <pc:sldMk cId="2689160453" sldId="256"/>
            <ac:spMk id="3" creationId="{013433F2-9735-45C3-B033-7DB8ADC2E209}"/>
          </ac:spMkLst>
        </pc:spChg>
        <pc:spChg chg="mod">
          <ac:chgData name="Hodinka Michal" userId="98db5e35-3b01-412d-8832-19059cf13f0a" providerId="ADAL" clId="{8F63088A-42F4-49BA-AA64-332D4AB8EC9E}" dt="2022-11-10T17:08:39.638" v="71" actId="404"/>
          <ac:spMkLst>
            <pc:docMk/>
            <pc:sldMk cId="2689160453" sldId="256"/>
            <ac:spMk id="7" creationId="{3F7D9D39-F101-4002-91AA-0F653C649632}"/>
          </ac:spMkLst>
        </pc:spChg>
      </pc:sldChg>
      <pc:sldChg chg="ord">
        <pc:chgData name="Hodinka Michal" userId="98db5e35-3b01-412d-8832-19059cf13f0a" providerId="ADAL" clId="{8F63088A-42F4-49BA-AA64-332D4AB8EC9E}" dt="2022-11-10T17:22:43.612" v="157"/>
        <pc:sldMkLst>
          <pc:docMk/>
          <pc:sldMk cId="2931738235" sldId="266"/>
        </pc:sldMkLst>
      </pc:sldChg>
      <pc:sldChg chg="addSp delSp modSp mod ord modNotesTx">
        <pc:chgData name="Hodinka Michal" userId="98db5e35-3b01-412d-8832-19059cf13f0a" providerId="ADAL" clId="{8F63088A-42F4-49BA-AA64-332D4AB8EC9E}" dt="2022-11-10T17:45:54.008" v="640"/>
        <pc:sldMkLst>
          <pc:docMk/>
          <pc:sldMk cId="3880140835" sldId="271"/>
        </pc:sldMkLst>
        <pc:spChg chg="add del mod">
          <ac:chgData name="Hodinka Michal" userId="98db5e35-3b01-412d-8832-19059cf13f0a" providerId="ADAL" clId="{8F63088A-42F4-49BA-AA64-332D4AB8EC9E}" dt="2022-11-10T17:09:54.937" v="106" actId="478"/>
          <ac:spMkLst>
            <pc:docMk/>
            <pc:sldMk cId="3880140835" sldId="271"/>
            <ac:spMk id="3" creationId="{B4096855-4652-45B8-870A-53950B395A75}"/>
          </ac:spMkLst>
        </pc:spChg>
        <pc:spChg chg="mod">
          <ac:chgData name="Hodinka Michal" userId="98db5e35-3b01-412d-8832-19059cf13f0a" providerId="ADAL" clId="{8F63088A-42F4-49BA-AA64-332D4AB8EC9E}" dt="2022-11-10T17:26:41.658" v="219" actId="1076"/>
          <ac:spMkLst>
            <pc:docMk/>
            <pc:sldMk cId="3880140835" sldId="271"/>
            <ac:spMk id="6" creationId="{B9A696E1-78B1-42A5-8F38-2CAEE9B961A3}"/>
          </ac:spMkLst>
        </pc:spChg>
        <pc:spChg chg="del">
          <ac:chgData name="Hodinka Michal" userId="98db5e35-3b01-412d-8832-19059cf13f0a" providerId="ADAL" clId="{8F63088A-42F4-49BA-AA64-332D4AB8EC9E}" dt="2022-11-10T17:09:45.126" v="103" actId="478"/>
          <ac:spMkLst>
            <pc:docMk/>
            <pc:sldMk cId="3880140835" sldId="271"/>
            <ac:spMk id="7" creationId="{5CCD1903-9AB2-4144-85C3-61DF837852AB}"/>
          </ac:spMkLst>
        </pc:spChg>
      </pc:sldChg>
      <pc:sldChg chg="modSp add mod modNotesTx">
        <pc:chgData name="Hodinka Michal" userId="98db5e35-3b01-412d-8832-19059cf13f0a" providerId="ADAL" clId="{8F63088A-42F4-49BA-AA64-332D4AB8EC9E}" dt="2022-11-10T17:21:45.340" v="155"/>
        <pc:sldMkLst>
          <pc:docMk/>
          <pc:sldMk cId="1077081780" sldId="314"/>
        </pc:sldMkLst>
        <pc:spChg chg="mod">
          <ac:chgData name="Hodinka Michal" userId="98db5e35-3b01-412d-8832-19059cf13f0a" providerId="ADAL" clId="{8F63088A-42F4-49BA-AA64-332D4AB8EC9E}" dt="2022-11-10T17:21:04.413" v="151" actId="20577"/>
          <ac:spMkLst>
            <pc:docMk/>
            <pc:sldMk cId="1077081780" sldId="314"/>
            <ac:spMk id="12" creationId="{73D3749E-4F15-4B1F-B5A0-02D2E21153AD}"/>
          </ac:spMkLst>
        </pc:spChg>
        <pc:spChg chg="mod">
          <ac:chgData name="Hodinka Michal" userId="98db5e35-3b01-412d-8832-19059cf13f0a" providerId="ADAL" clId="{8F63088A-42F4-49BA-AA64-332D4AB8EC9E}" dt="2022-11-10T17:21:45.340" v="155"/>
          <ac:spMkLst>
            <pc:docMk/>
            <pc:sldMk cId="1077081780" sldId="314"/>
            <ac:spMk id="13" creationId="{3347C11E-3A92-4635-8BD7-E1F48ADB3695}"/>
          </ac:spMkLst>
        </pc:spChg>
      </pc:sldChg>
      <pc:sldChg chg="modSp add mod modNotesTx">
        <pc:chgData name="Hodinka Michal" userId="98db5e35-3b01-412d-8832-19059cf13f0a" providerId="ADAL" clId="{8F63088A-42F4-49BA-AA64-332D4AB8EC9E}" dt="2022-11-10T17:49:45.001" v="689"/>
        <pc:sldMkLst>
          <pc:docMk/>
          <pc:sldMk cId="3900715308" sldId="315"/>
        </pc:sldMkLst>
        <pc:spChg chg="mod">
          <ac:chgData name="Hodinka Michal" userId="98db5e35-3b01-412d-8832-19059cf13f0a" providerId="ADAL" clId="{8F63088A-42F4-49BA-AA64-332D4AB8EC9E}" dt="2022-11-10T17:48:39.891" v="686" actId="20577"/>
          <ac:spMkLst>
            <pc:docMk/>
            <pc:sldMk cId="3900715308" sldId="315"/>
            <ac:spMk id="16" creationId="{9945FF27-6E3E-467E-987E-7AEF67BCA877}"/>
          </ac:spMkLst>
        </pc:spChg>
        <pc:spChg chg="mod">
          <ac:chgData name="Hodinka Michal" userId="98db5e35-3b01-412d-8832-19059cf13f0a" providerId="ADAL" clId="{8F63088A-42F4-49BA-AA64-332D4AB8EC9E}" dt="2022-11-10T17:49:26.347" v="688"/>
          <ac:spMkLst>
            <pc:docMk/>
            <pc:sldMk cId="3900715308" sldId="315"/>
            <ac:spMk id="17" creationId="{57014189-368E-423F-9B25-BC7C0F0A44F2}"/>
          </ac:spMkLst>
        </pc:spChg>
        <pc:spChg chg="mod">
          <ac:chgData name="Hodinka Michal" userId="98db5e35-3b01-412d-8832-19059cf13f0a" providerId="ADAL" clId="{8F63088A-42F4-49BA-AA64-332D4AB8EC9E}" dt="2022-11-10T17:49:45.001" v="689"/>
          <ac:spMkLst>
            <pc:docMk/>
            <pc:sldMk cId="3900715308" sldId="315"/>
            <ac:spMk id="18" creationId="{85310A26-89DA-4D30-912F-EDC0A6CB4689}"/>
          </ac:spMkLst>
        </pc:spChg>
        <pc:spChg chg="mod">
          <ac:chgData name="Hodinka Michal" userId="98db5e35-3b01-412d-8832-19059cf13f0a" providerId="ADAL" clId="{8F63088A-42F4-49BA-AA64-332D4AB8EC9E}" dt="2022-11-10T17:49:10.778" v="687"/>
          <ac:spMkLst>
            <pc:docMk/>
            <pc:sldMk cId="3900715308" sldId="315"/>
            <ac:spMk id="19" creationId="{C6BB9A96-5C77-4B45-8E4C-FF96CC381C18}"/>
          </ac:spMkLst>
        </pc:spChg>
      </pc:sldChg>
      <pc:sldChg chg="modSp add mod modNotesTx">
        <pc:chgData name="Hodinka Michal" userId="98db5e35-3b01-412d-8832-19059cf13f0a" providerId="ADAL" clId="{8F63088A-42F4-49BA-AA64-332D4AB8EC9E}" dt="2022-11-10T17:23:43.315" v="171"/>
        <pc:sldMkLst>
          <pc:docMk/>
          <pc:sldMk cId="114741274" sldId="316"/>
        </pc:sldMkLst>
        <pc:spChg chg="mod">
          <ac:chgData name="Hodinka Michal" userId="98db5e35-3b01-412d-8832-19059cf13f0a" providerId="ADAL" clId="{8F63088A-42F4-49BA-AA64-332D4AB8EC9E}" dt="2022-11-10T17:23:35.664" v="170" actId="20577"/>
          <ac:spMkLst>
            <pc:docMk/>
            <pc:sldMk cId="114741274" sldId="316"/>
            <ac:spMk id="4" creationId="{9B9D6278-1229-4B3F-8FE8-06A85D317FC2}"/>
          </ac:spMkLst>
        </pc:spChg>
      </pc:sldChg>
      <pc:sldChg chg="modSp add mod modNotesTx">
        <pc:chgData name="Hodinka Michal" userId="98db5e35-3b01-412d-8832-19059cf13f0a" providerId="ADAL" clId="{8F63088A-42F4-49BA-AA64-332D4AB8EC9E}" dt="2022-11-10T17:24:17.353" v="183" actId="5793"/>
        <pc:sldMkLst>
          <pc:docMk/>
          <pc:sldMk cId="987638889" sldId="317"/>
        </pc:sldMkLst>
        <pc:spChg chg="mod">
          <ac:chgData name="Hodinka Michal" userId="98db5e35-3b01-412d-8832-19059cf13f0a" providerId="ADAL" clId="{8F63088A-42F4-49BA-AA64-332D4AB8EC9E}" dt="2022-11-10T17:24:13.502" v="182" actId="20577"/>
          <ac:spMkLst>
            <pc:docMk/>
            <pc:sldMk cId="987638889" sldId="317"/>
            <ac:spMk id="4" creationId="{9B9D6278-1229-4B3F-8FE8-06A85D317FC2}"/>
          </ac:spMkLst>
        </pc:spChg>
      </pc:sldChg>
      <pc:sldChg chg="modSp add mod modNotesTx">
        <pc:chgData name="Hodinka Michal" userId="98db5e35-3b01-412d-8832-19059cf13f0a" providerId="ADAL" clId="{8F63088A-42F4-49BA-AA64-332D4AB8EC9E}" dt="2022-11-10T17:25:33.862" v="216" actId="1076"/>
        <pc:sldMkLst>
          <pc:docMk/>
          <pc:sldMk cId="2164556613" sldId="318"/>
        </pc:sldMkLst>
        <pc:spChg chg="mod">
          <ac:chgData name="Hodinka Michal" userId="98db5e35-3b01-412d-8832-19059cf13f0a" providerId="ADAL" clId="{8F63088A-42F4-49BA-AA64-332D4AB8EC9E}" dt="2022-11-10T17:25:33.862" v="216" actId="1076"/>
          <ac:spMkLst>
            <pc:docMk/>
            <pc:sldMk cId="2164556613" sldId="318"/>
            <ac:spMk id="4" creationId="{9B9D6278-1229-4B3F-8FE8-06A85D317FC2}"/>
          </ac:spMkLst>
        </pc:spChg>
      </pc:sldChg>
      <pc:sldChg chg="addSp delSp modSp add mod modNotesTx">
        <pc:chgData name="Hodinka Michal" userId="98db5e35-3b01-412d-8832-19059cf13f0a" providerId="ADAL" clId="{8F63088A-42F4-49BA-AA64-332D4AB8EC9E}" dt="2022-11-10T18:43:45.623" v="1135" actId="13822"/>
        <pc:sldMkLst>
          <pc:docMk/>
          <pc:sldMk cId="1925916913" sldId="319"/>
        </pc:sldMkLst>
        <pc:spChg chg="add del mod">
          <ac:chgData name="Hodinka Michal" userId="98db5e35-3b01-412d-8832-19059cf13f0a" providerId="ADAL" clId="{8F63088A-42F4-49BA-AA64-332D4AB8EC9E}" dt="2022-11-10T18:38:38.128" v="1103" actId="478"/>
          <ac:spMkLst>
            <pc:docMk/>
            <pc:sldMk cId="1925916913" sldId="319"/>
            <ac:spMk id="5" creationId="{B1DAE548-51E2-4127-AD66-9EAFEAEEE498}"/>
          </ac:spMkLst>
        </pc:spChg>
        <pc:spChg chg="mod">
          <ac:chgData name="Hodinka Michal" userId="98db5e35-3b01-412d-8832-19059cf13f0a" providerId="ADAL" clId="{8F63088A-42F4-49BA-AA64-332D4AB8EC9E}" dt="2022-11-10T18:38:28.684" v="1101" actId="20577"/>
          <ac:spMkLst>
            <pc:docMk/>
            <pc:sldMk cId="1925916913" sldId="319"/>
            <ac:spMk id="12" creationId="{73D3749E-4F15-4B1F-B5A0-02D2E21153AD}"/>
          </ac:spMkLst>
        </pc:spChg>
        <pc:spChg chg="del">
          <ac:chgData name="Hodinka Michal" userId="98db5e35-3b01-412d-8832-19059cf13f0a" providerId="ADAL" clId="{8F63088A-42F4-49BA-AA64-332D4AB8EC9E}" dt="2022-11-10T17:28:02.783" v="221" actId="478"/>
          <ac:spMkLst>
            <pc:docMk/>
            <pc:sldMk cId="1925916913" sldId="319"/>
            <ac:spMk id="13" creationId="{3347C11E-3A92-4635-8BD7-E1F48ADB3695}"/>
          </ac:spMkLst>
        </pc:spChg>
        <pc:graphicFrameChg chg="add mod modGraphic">
          <ac:chgData name="Hodinka Michal" userId="98db5e35-3b01-412d-8832-19059cf13f0a" providerId="ADAL" clId="{8F63088A-42F4-49BA-AA64-332D4AB8EC9E}" dt="2022-11-10T18:43:45.623" v="1135" actId="13822"/>
          <ac:graphicFrameMkLst>
            <pc:docMk/>
            <pc:sldMk cId="1925916913" sldId="319"/>
            <ac:graphicFrameMk id="4" creationId="{85EB5A09-696C-4C45-9DE2-27290263FCDF}"/>
          </ac:graphicFrameMkLst>
        </pc:graphicFrameChg>
        <pc:picChg chg="add del mod">
          <ac:chgData name="Hodinka Michal" userId="98db5e35-3b01-412d-8832-19059cf13f0a" providerId="ADAL" clId="{8F63088A-42F4-49BA-AA64-332D4AB8EC9E}" dt="2022-11-10T18:38:06.068" v="1080" actId="478"/>
          <ac:picMkLst>
            <pc:docMk/>
            <pc:sldMk cId="1925916913" sldId="319"/>
            <ac:picMk id="1026" creationId="{216ABADC-D682-4CEF-9BED-02EBF5252543}"/>
          </ac:picMkLst>
        </pc:picChg>
      </pc:sldChg>
      <pc:sldChg chg="addSp delSp modSp new mod">
        <pc:chgData name="Hodinka Michal" userId="98db5e35-3b01-412d-8832-19059cf13f0a" providerId="ADAL" clId="{8F63088A-42F4-49BA-AA64-332D4AB8EC9E}" dt="2022-11-10T17:54:11.778" v="696" actId="14100"/>
        <pc:sldMkLst>
          <pc:docMk/>
          <pc:sldMk cId="588059555" sldId="320"/>
        </pc:sldMkLst>
        <pc:spChg chg="mod">
          <ac:chgData name="Hodinka Michal" userId="98db5e35-3b01-412d-8832-19059cf13f0a" providerId="ADAL" clId="{8F63088A-42F4-49BA-AA64-332D4AB8EC9E}" dt="2022-11-10T17:32:57.155" v="351" actId="20577"/>
          <ac:spMkLst>
            <pc:docMk/>
            <pc:sldMk cId="588059555" sldId="320"/>
            <ac:spMk id="5" creationId="{0FC6CDA0-4F53-4018-887F-5487ED53204D}"/>
          </ac:spMkLst>
        </pc:spChg>
        <pc:picChg chg="add del mod">
          <ac:chgData name="Hodinka Michal" userId="98db5e35-3b01-412d-8832-19059cf13f0a" providerId="ADAL" clId="{8F63088A-42F4-49BA-AA64-332D4AB8EC9E}" dt="2022-11-10T17:32:37.247" v="316" actId="478"/>
          <ac:picMkLst>
            <pc:docMk/>
            <pc:sldMk cId="588059555" sldId="320"/>
            <ac:picMk id="7" creationId="{31FE6698-0781-401B-82F0-D3ACEE693DD6}"/>
          </ac:picMkLst>
        </pc:picChg>
        <pc:picChg chg="add mod">
          <ac:chgData name="Hodinka Michal" userId="98db5e35-3b01-412d-8832-19059cf13f0a" providerId="ADAL" clId="{8F63088A-42F4-49BA-AA64-332D4AB8EC9E}" dt="2022-11-10T17:54:11.778" v="696" actId="14100"/>
          <ac:picMkLst>
            <pc:docMk/>
            <pc:sldMk cId="588059555" sldId="320"/>
            <ac:picMk id="9" creationId="{0FDAF604-AF77-4722-B751-0E4CC7B69A3A}"/>
          </ac:picMkLst>
        </pc:picChg>
        <pc:picChg chg="add del mod">
          <ac:chgData name="Hodinka Michal" userId="98db5e35-3b01-412d-8832-19059cf13f0a" providerId="ADAL" clId="{8F63088A-42F4-49BA-AA64-332D4AB8EC9E}" dt="2022-11-10T17:31:15.597" v="311" actId="478"/>
          <ac:picMkLst>
            <pc:docMk/>
            <pc:sldMk cId="588059555" sldId="320"/>
            <ac:picMk id="2050" creationId="{C4FE359D-22D9-48E6-AD65-275F8985BC53}"/>
          </ac:picMkLst>
        </pc:picChg>
      </pc:sldChg>
      <pc:sldChg chg="modSp add mod modNotesTx">
        <pc:chgData name="Hodinka Michal" userId="98db5e35-3b01-412d-8832-19059cf13f0a" providerId="ADAL" clId="{8F63088A-42F4-49BA-AA64-332D4AB8EC9E}" dt="2022-11-10T17:41:55.052" v="593"/>
        <pc:sldMkLst>
          <pc:docMk/>
          <pc:sldMk cId="1952072441" sldId="321"/>
        </pc:sldMkLst>
        <pc:spChg chg="mod">
          <ac:chgData name="Hodinka Michal" userId="98db5e35-3b01-412d-8832-19059cf13f0a" providerId="ADAL" clId="{8F63088A-42F4-49BA-AA64-332D4AB8EC9E}" dt="2022-11-10T17:41:55.052" v="593"/>
          <ac:spMkLst>
            <pc:docMk/>
            <pc:sldMk cId="1952072441" sldId="321"/>
            <ac:spMk id="12" creationId="{73D3749E-4F15-4B1F-B5A0-02D2E21153AD}"/>
          </ac:spMkLst>
        </pc:spChg>
        <pc:spChg chg="mod">
          <ac:chgData name="Hodinka Michal" userId="98db5e35-3b01-412d-8832-19059cf13f0a" providerId="ADAL" clId="{8F63088A-42F4-49BA-AA64-332D4AB8EC9E}" dt="2022-11-10T17:41:41.776" v="589" actId="6549"/>
          <ac:spMkLst>
            <pc:docMk/>
            <pc:sldMk cId="1952072441" sldId="321"/>
            <ac:spMk id="13" creationId="{3347C11E-3A92-4635-8BD7-E1F48ADB3695}"/>
          </ac:spMkLst>
        </pc:spChg>
      </pc:sldChg>
      <pc:sldChg chg="delSp modSp add mod modNotesTx">
        <pc:chgData name="Hodinka Michal" userId="98db5e35-3b01-412d-8832-19059cf13f0a" providerId="ADAL" clId="{8F63088A-42F4-49BA-AA64-332D4AB8EC9E}" dt="2022-11-10T17:35:26.745" v="403" actId="20577"/>
        <pc:sldMkLst>
          <pc:docMk/>
          <pc:sldMk cId="3733551867" sldId="322"/>
        </pc:sldMkLst>
        <pc:spChg chg="del">
          <ac:chgData name="Hodinka Michal" userId="98db5e35-3b01-412d-8832-19059cf13f0a" providerId="ADAL" clId="{8F63088A-42F4-49BA-AA64-332D4AB8EC9E}" dt="2022-11-10T17:35:24.682" v="402" actId="478"/>
          <ac:spMkLst>
            <pc:docMk/>
            <pc:sldMk cId="3733551867" sldId="322"/>
            <ac:spMk id="3" creationId="{5115467F-DB76-4BA5-8E84-E4E61E89F6F3}"/>
          </ac:spMkLst>
        </pc:spChg>
        <pc:spChg chg="mod">
          <ac:chgData name="Hodinka Michal" userId="98db5e35-3b01-412d-8832-19059cf13f0a" providerId="ADAL" clId="{8F63088A-42F4-49BA-AA64-332D4AB8EC9E}" dt="2022-11-10T17:35:26.745" v="403" actId="20577"/>
          <ac:spMkLst>
            <pc:docMk/>
            <pc:sldMk cId="3733551867" sldId="322"/>
            <ac:spMk id="7" creationId="{B56B984E-4C45-468E-8D1A-297CCB6DFA39}"/>
          </ac:spMkLst>
        </pc:spChg>
      </pc:sldChg>
      <pc:sldChg chg="addSp delSp modSp add del mod">
        <pc:chgData name="Hodinka Michal" userId="98db5e35-3b01-412d-8832-19059cf13f0a" providerId="ADAL" clId="{8F63088A-42F4-49BA-AA64-332D4AB8EC9E}" dt="2022-11-10T17:52:59.719" v="695" actId="20577"/>
        <pc:sldMkLst>
          <pc:docMk/>
          <pc:sldMk cId="3959646481" sldId="323"/>
        </pc:sldMkLst>
        <pc:spChg chg="add del mod">
          <ac:chgData name="Hodinka Michal" userId="98db5e35-3b01-412d-8832-19059cf13f0a" providerId="ADAL" clId="{8F63088A-42F4-49BA-AA64-332D4AB8EC9E}" dt="2022-11-10T17:40:44.141" v="565" actId="14100"/>
          <ac:spMkLst>
            <pc:docMk/>
            <pc:sldMk cId="3959646481" sldId="323"/>
            <ac:spMk id="4" creationId="{E24D1D3D-A879-4342-BF51-DA0D6990CDC6}"/>
          </ac:spMkLst>
        </pc:spChg>
        <pc:spChg chg="mod">
          <ac:chgData name="Hodinka Michal" userId="98db5e35-3b01-412d-8832-19059cf13f0a" providerId="ADAL" clId="{8F63088A-42F4-49BA-AA64-332D4AB8EC9E}" dt="2022-11-10T17:52:59.719" v="695" actId="20577"/>
          <ac:spMkLst>
            <pc:docMk/>
            <pc:sldMk cId="3959646481" sldId="323"/>
            <ac:spMk id="5" creationId="{0FC6CDA0-4F53-4018-887F-5487ED53204D}"/>
          </ac:spMkLst>
        </pc:spChg>
        <pc:picChg chg="add mod">
          <ac:chgData name="Hodinka Michal" userId="98db5e35-3b01-412d-8832-19059cf13f0a" providerId="ADAL" clId="{8F63088A-42F4-49BA-AA64-332D4AB8EC9E}" dt="2022-11-10T17:40:48.182" v="566" actId="1076"/>
          <ac:picMkLst>
            <pc:docMk/>
            <pc:sldMk cId="3959646481" sldId="323"/>
            <ac:picMk id="7" creationId="{E2A5EFB0-9DE0-4C37-87AC-751CDE2E0DE6}"/>
          </ac:picMkLst>
        </pc:picChg>
        <pc:picChg chg="del">
          <ac:chgData name="Hodinka Michal" userId="98db5e35-3b01-412d-8832-19059cf13f0a" providerId="ADAL" clId="{8F63088A-42F4-49BA-AA64-332D4AB8EC9E}" dt="2022-11-10T17:37:35.033" v="418" actId="478"/>
          <ac:picMkLst>
            <pc:docMk/>
            <pc:sldMk cId="3959646481" sldId="323"/>
            <ac:picMk id="9" creationId="{0FDAF604-AF77-4722-B751-0E4CC7B69A3A}"/>
          </ac:picMkLst>
        </pc:picChg>
      </pc:sldChg>
      <pc:sldChg chg="delSp modSp add mod modNotesTx">
        <pc:chgData name="Hodinka Michal" userId="98db5e35-3b01-412d-8832-19059cf13f0a" providerId="ADAL" clId="{8F63088A-42F4-49BA-AA64-332D4AB8EC9E}" dt="2022-11-10T17:43:52.789" v="639" actId="6549"/>
        <pc:sldMkLst>
          <pc:docMk/>
          <pc:sldMk cId="62660920" sldId="324"/>
        </pc:sldMkLst>
        <pc:spChg chg="del">
          <ac:chgData name="Hodinka Michal" userId="98db5e35-3b01-412d-8832-19059cf13f0a" providerId="ADAL" clId="{8F63088A-42F4-49BA-AA64-332D4AB8EC9E}" dt="2022-11-10T17:43:28.986" v="629" actId="478"/>
          <ac:spMkLst>
            <pc:docMk/>
            <pc:sldMk cId="62660920" sldId="324"/>
            <ac:spMk id="3" creationId="{C4CCBFB5-0469-4837-955A-EE5198FB2082}"/>
          </ac:spMkLst>
        </pc:spChg>
        <pc:spChg chg="mod">
          <ac:chgData name="Hodinka Michal" userId="98db5e35-3b01-412d-8832-19059cf13f0a" providerId="ADAL" clId="{8F63088A-42F4-49BA-AA64-332D4AB8EC9E}" dt="2022-11-10T17:43:43.905" v="638" actId="20577"/>
          <ac:spMkLst>
            <pc:docMk/>
            <pc:sldMk cId="62660920" sldId="324"/>
            <ac:spMk id="7" creationId="{E4C4E4C2-1827-4E90-B830-284D9728E52C}"/>
          </ac:spMkLst>
        </pc:spChg>
      </pc:sldChg>
      <pc:sldChg chg="addSp delSp modSp new del mod">
        <pc:chgData name="Hodinka Michal" userId="98db5e35-3b01-412d-8832-19059cf13f0a" providerId="ADAL" clId="{8F63088A-42F4-49BA-AA64-332D4AB8EC9E}" dt="2022-11-10T17:40:01.046" v="507" actId="680"/>
        <pc:sldMkLst>
          <pc:docMk/>
          <pc:sldMk cId="2381303250" sldId="324"/>
        </pc:sldMkLst>
        <pc:spChg chg="mod">
          <ac:chgData name="Hodinka Michal" userId="98db5e35-3b01-412d-8832-19059cf13f0a" providerId="ADAL" clId="{8F63088A-42F4-49BA-AA64-332D4AB8EC9E}" dt="2022-11-10T17:39:59.206" v="502" actId="20577"/>
          <ac:spMkLst>
            <pc:docMk/>
            <pc:sldMk cId="2381303250" sldId="324"/>
            <ac:spMk id="4" creationId="{1053B838-4C94-4E0F-8469-AB902ACB2E7B}"/>
          </ac:spMkLst>
        </pc:spChg>
        <pc:spChg chg="mod">
          <ac:chgData name="Hodinka Michal" userId="98db5e35-3b01-412d-8832-19059cf13f0a" providerId="ADAL" clId="{8F63088A-42F4-49BA-AA64-332D4AB8EC9E}" dt="2022-11-10T17:39:56.892" v="493" actId="20577"/>
          <ac:spMkLst>
            <pc:docMk/>
            <pc:sldMk cId="2381303250" sldId="324"/>
            <ac:spMk id="5" creationId="{7E9074EF-452B-4282-B7CA-3F0EC98CE4CB}"/>
          </ac:spMkLst>
        </pc:spChg>
        <pc:spChg chg="mod">
          <ac:chgData name="Hodinka Michal" userId="98db5e35-3b01-412d-8832-19059cf13f0a" providerId="ADAL" clId="{8F63088A-42F4-49BA-AA64-332D4AB8EC9E}" dt="2022-11-10T17:39:59.628" v="504"/>
          <ac:spMkLst>
            <pc:docMk/>
            <pc:sldMk cId="2381303250" sldId="324"/>
            <ac:spMk id="6" creationId="{406DF596-BC1F-4BC1-BEB3-6DC194E79A04}"/>
          </ac:spMkLst>
        </pc:spChg>
        <pc:spChg chg="add del">
          <ac:chgData name="Hodinka Michal" userId="98db5e35-3b01-412d-8832-19059cf13f0a" providerId="ADAL" clId="{8F63088A-42F4-49BA-AA64-332D4AB8EC9E}" dt="2022-11-10T17:40:00.469" v="506"/>
          <ac:spMkLst>
            <pc:docMk/>
            <pc:sldMk cId="2381303250" sldId="324"/>
            <ac:spMk id="7" creationId="{4EEAC4FD-4829-4304-B157-331DEA48FBA2}"/>
          </ac:spMkLst>
        </pc:spChg>
        <pc:picChg chg="add del mod">
          <ac:chgData name="Hodinka Michal" userId="98db5e35-3b01-412d-8832-19059cf13f0a" providerId="ADAL" clId="{8F63088A-42F4-49BA-AA64-332D4AB8EC9E}" dt="2022-11-10T17:40:00.469" v="506"/>
          <ac:picMkLst>
            <pc:docMk/>
            <pc:sldMk cId="2381303250" sldId="324"/>
            <ac:picMk id="8" creationId="{5E3EF6EC-BEE3-44C1-A5DD-BED4D2F30006}"/>
          </ac:picMkLst>
        </pc:picChg>
      </pc:sldChg>
    </pc:docChg>
  </pc:docChgLst>
  <pc:docChgLst>
    <pc:chgData name="Hodinka Michal" userId="S::michal.hodinka@innogy.cz::98db5e35-3b01-412d-8832-19059cf13f0a" providerId="AD" clId="Web-{E1E9DA2A-87AF-228B-AAAB-B2EF7216CE1E}"/>
    <pc:docChg chg="modSld">
      <pc:chgData name="Hodinka Michal" userId="S::michal.hodinka@innogy.cz::98db5e35-3b01-412d-8832-19059cf13f0a" providerId="AD" clId="Web-{E1E9DA2A-87AF-228B-AAAB-B2EF7216CE1E}" dt="2022-11-20T12:11:38.656" v="0" actId="20577"/>
      <pc:docMkLst>
        <pc:docMk/>
      </pc:docMkLst>
      <pc:sldChg chg="modSp">
        <pc:chgData name="Hodinka Michal" userId="S::michal.hodinka@innogy.cz::98db5e35-3b01-412d-8832-19059cf13f0a" providerId="AD" clId="Web-{E1E9DA2A-87AF-228B-AAAB-B2EF7216CE1E}" dt="2022-11-20T12:11:38.656" v="0" actId="20577"/>
        <pc:sldMkLst>
          <pc:docMk/>
          <pc:sldMk cId="2689160453" sldId="256"/>
        </pc:sldMkLst>
        <pc:spChg chg="mod">
          <ac:chgData name="Hodinka Michal" userId="S::michal.hodinka@innogy.cz::98db5e35-3b01-412d-8832-19059cf13f0a" providerId="AD" clId="Web-{E1E9DA2A-87AF-228B-AAAB-B2EF7216CE1E}" dt="2022-11-20T12:11:38.656" v="0" actId="20577"/>
          <ac:spMkLst>
            <pc:docMk/>
            <pc:sldMk cId="2689160453" sldId="256"/>
            <ac:spMk id="3" creationId="{013433F2-9735-45C3-B033-7DB8ADC2E209}"/>
          </ac:spMkLst>
        </pc:spChg>
      </pc:sldChg>
    </pc:docChg>
  </pc:docChgLst>
  <pc:docChgLst>
    <pc:chgData name="Konečný Přemysl" userId="S::premysl.konecny@innogy.cz::cb82ba73-0387-4d27-839a-e2c5589b8362" providerId="AD" clId="Web-{BE0858CB-F959-AA0A-FB40-684A3A8624C3}"/>
    <pc:docChg chg="mod">
      <pc:chgData name="Konečný Přemysl" userId="S::premysl.konecny@innogy.cz::cb82ba73-0387-4d27-839a-e2c5589b8362" providerId="AD" clId="Web-{BE0858CB-F959-AA0A-FB40-684A3A8624C3}" dt="2022-11-24T14:22:11.397" v="4"/>
      <pc:docMkLst>
        <pc:docMk/>
      </pc:docMkLst>
      <pc:sldChg chg="addCm">
        <pc:chgData name="Konečný Přemysl" userId="S::premysl.konecny@innogy.cz::cb82ba73-0387-4d27-839a-e2c5589b8362" providerId="AD" clId="Web-{BE0858CB-F959-AA0A-FB40-684A3A8624C3}" dt="2022-11-24T14:22:11.397" v="4"/>
        <pc:sldMkLst>
          <pc:docMk/>
          <pc:sldMk cId="1077081780" sldId="314"/>
        </pc:sldMkLst>
      </pc:sldChg>
      <pc:sldChg chg="addCm">
        <pc:chgData name="Konečný Přemysl" userId="S::premysl.konecny@innogy.cz::cb82ba73-0387-4d27-839a-e2c5589b8362" providerId="AD" clId="Web-{BE0858CB-F959-AA0A-FB40-684A3A8624C3}" dt="2022-11-24T14:12:59.869" v="1"/>
        <pc:sldMkLst>
          <pc:docMk/>
          <pc:sldMk cId="1925916913" sldId="319"/>
        </pc:sldMkLst>
      </pc:sldChg>
      <pc:sldChg chg="addCm">
        <pc:chgData name="Konečný Přemysl" userId="S::premysl.konecny@innogy.cz::cb82ba73-0387-4d27-839a-e2c5589b8362" providerId="AD" clId="Web-{BE0858CB-F959-AA0A-FB40-684A3A8624C3}" dt="2022-11-24T14:16:59.749" v="3"/>
        <pc:sldMkLst>
          <pc:docMk/>
          <pc:sldMk cId="1952072441" sldId="321"/>
        </pc:sldMkLst>
      </pc:sldChg>
      <pc:sldChg chg="addCm">
        <pc:chgData name="Konečný Přemysl" userId="S::premysl.konecny@innogy.cz::cb82ba73-0387-4d27-839a-e2c5589b8362" providerId="AD" clId="Web-{BE0858CB-F959-AA0A-FB40-684A3A8624C3}" dt="2022-11-24T14:15:46.200" v="2"/>
        <pc:sldMkLst>
          <pc:docMk/>
          <pc:sldMk cId="3959646481" sldId="323"/>
        </pc:sldMkLst>
      </pc:sldChg>
    </pc:docChg>
  </pc:docChgLst>
  <pc:docChgLst>
    <pc:chgData name="Hodinka Michal" userId="98db5e35-3b01-412d-8832-19059cf13f0a" providerId="ADAL" clId="{313E75EB-C80F-4663-977B-11BCE2E94D50}"/>
    <pc:docChg chg="modSld">
      <pc:chgData name="Hodinka Michal" userId="98db5e35-3b01-412d-8832-19059cf13f0a" providerId="ADAL" clId="{313E75EB-C80F-4663-977B-11BCE2E94D50}" dt="2022-05-24T10:31:51.093" v="0" actId="207"/>
      <pc:docMkLst>
        <pc:docMk/>
      </pc:docMkLst>
      <pc:sldChg chg="modSp mod">
        <pc:chgData name="Hodinka Michal" userId="98db5e35-3b01-412d-8832-19059cf13f0a" providerId="ADAL" clId="{313E75EB-C80F-4663-977B-11BCE2E94D50}" dt="2022-05-24T10:31:51.093" v="0" actId="207"/>
        <pc:sldMkLst>
          <pc:docMk/>
          <pc:sldMk cId="2689160453" sldId="256"/>
        </pc:sldMkLst>
        <pc:spChg chg="mod">
          <ac:chgData name="Hodinka Michal" userId="98db5e35-3b01-412d-8832-19059cf13f0a" providerId="ADAL" clId="{313E75EB-C80F-4663-977B-11BCE2E94D50}" dt="2022-05-24T10:31:51.093" v="0" actId="207"/>
          <ac:spMkLst>
            <pc:docMk/>
            <pc:sldMk cId="2689160453" sldId="256"/>
            <ac:spMk id="7" creationId="{3F7D9D39-F101-4002-91AA-0F653C649632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9C18E79-FB01-4F0A-A24A-E3FE1EC12520}" type="doc">
      <dgm:prSet loTypeId="urn:microsoft.com/office/officeart/2008/layout/AlternatingHexagons" loCatId="list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cs-CZ"/>
        </a:p>
      </dgm:t>
    </dgm:pt>
    <dgm:pt modelId="{5E9F7BE3-6F0A-49C6-B1B4-ACC4D152F089}">
      <dgm:prSet phldrT="[Text]" custT="1"/>
      <dgm:spPr/>
      <dgm:t>
        <a:bodyPr/>
        <a:lstStyle/>
        <a:p>
          <a:r>
            <a:rPr lang="cs-CZ" sz="1600" b="1" dirty="0"/>
            <a:t>Data </a:t>
          </a:r>
          <a:r>
            <a:rPr lang="cs-CZ" sz="1600" b="1" dirty="0" err="1"/>
            <a:t>Producers</a:t>
          </a:r>
          <a:endParaRPr lang="cs-CZ" sz="1600" b="1" dirty="0"/>
        </a:p>
      </dgm:t>
    </dgm:pt>
    <dgm:pt modelId="{1960D62A-67B7-4B64-BC57-026AA81EED48}" type="parTrans" cxnId="{D637A7D6-8204-4928-B9F8-FDA98445B2C7}">
      <dgm:prSet/>
      <dgm:spPr/>
      <dgm:t>
        <a:bodyPr/>
        <a:lstStyle/>
        <a:p>
          <a:endParaRPr lang="cs-CZ" b="1"/>
        </a:p>
      </dgm:t>
    </dgm:pt>
    <dgm:pt modelId="{649CD72D-56CC-4713-AD8F-433CA95CC77D}" type="sibTrans" cxnId="{D637A7D6-8204-4928-B9F8-FDA98445B2C7}">
      <dgm:prSet/>
      <dgm:spPr/>
      <dgm:t>
        <a:bodyPr/>
        <a:lstStyle/>
        <a:p>
          <a:endParaRPr lang="cs-CZ" b="1"/>
        </a:p>
      </dgm:t>
    </dgm:pt>
    <dgm:pt modelId="{383D854D-449A-46F5-A5F7-2CD9A3A68A05}">
      <dgm:prSet phldrT="[Text]"/>
      <dgm:spPr/>
      <dgm:t>
        <a:bodyPr/>
        <a:lstStyle/>
        <a:p>
          <a:r>
            <a:rPr lang="cs-CZ" b="1" dirty="0" err="1"/>
            <a:t>Domain</a:t>
          </a:r>
          <a:r>
            <a:rPr lang="cs-CZ" b="1" dirty="0"/>
            <a:t> </a:t>
          </a:r>
          <a:r>
            <a:rPr lang="cs-CZ" b="1" dirty="0" err="1"/>
            <a:t>expertise</a:t>
          </a:r>
          <a:endParaRPr lang="cs-CZ" b="1" dirty="0"/>
        </a:p>
      </dgm:t>
    </dgm:pt>
    <dgm:pt modelId="{6B9EB18C-3D14-4068-9A70-24BD17D0A603}" type="parTrans" cxnId="{110FE388-2551-42B3-8252-09A9E3C9AD5B}">
      <dgm:prSet/>
      <dgm:spPr/>
      <dgm:t>
        <a:bodyPr/>
        <a:lstStyle/>
        <a:p>
          <a:endParaRPr lang="cs-CZ" b="1"/>
        </a:p>
      </dgm:t>
    </dgm:pt>
    <dgm:pt modelId="{D4242F55-B4D8-490A-97E2-99E4E9AC84ED}" type="sibTrans" cxnId="{110FE388-2551-42B3-8252-09A9E3C9AD5B}">
      <dgm:prSet/>
      <dgm:spPr/>
      <dgm:t>
        <a:bodyPr/>
        <a:lstStyle/>
        <a:p>
          <a:endParaRPr lang="cs-CZ" b="1"/>
        </a:p>
      </dgm:t>
    </dgm:pt>
    <dgm:pt modelId="{C2F6D3C9-95C8-4B29-AFD5-C7D6E7924460}">
      <dgm:prSet phldrT="[Text]" custT="1"/>
      <dgm:spPr/>
      <dgm:t>
        <a:bodyPr/>
        <a:lstStyle/>
        <a:p>
          <a:r>
            <a:rPr lang="cs-CZ" sz="2800" b="1" dirty="0"/>
            <a:t>Data </a:t>
          </a:r>
          <a:r>
            <a:rPr lang="cs-CZ" sz="2800" b="1" dirty="0" err="1"/>
            <a:t>Mesh</a:t>
          </a:r>
          <a:endParaRPr lang="cs-CZ" sz="2800" b="1" dirty="0"/>
        </a:p>
      </dgm:t>
    </dgm:pt>
    <dgm:pt modelId="{803C5630-9D9C-4942-9D8A-619E1842C2ED}" type="parTrans" cxnId="{BEFFDB29-2D1B-47AB-BF50-E0290C71847D}">
      <dgm:prSet/>
      <dgm:spPr/>
      <dgm:t>
        <a:bodyPr/>
        <a:lstStyle/>
        <a:p>
          <a:endParaRPr lang="cs-CZ" b="1"/>
        </a:p>
      </dgm:t>
    </dgm:pt>
    <dgm:pt modelId="{FD4B0AFE-9093-4B46-BBE5-5AA47A1685AC}" type="sibTrans" cxnId="{BEFFDB29-2D1B-47AB-BF50-E0290C71847D}">
      <dgm:prSet/>
      <dgm:spPr/>
      <dgm:t>
        <a:bodyPr/>
        <a:lstStyle/>
        <a:p>
          <a:endParaRPr lang="cs-CZ" b="1"/>
        </a:p>
      </dgm:t>
    </dgm:pt>
    <dgm:pt modelId="{C1B56DB6-B3CB-4DAE-B7A2-E9C5E8D21749}">
      <dgm:prSet phldrT="[Text]"/>
      <dgm:spPr/>
      <dgm:t>
        <a:bodyPr/>
        <a:lstStyle/>
        <a:p>
          <a:r>
            <a:rPr lang="cs-CZ" b="1" dirty="0"/>
            <a:t>Build </a:t>
          </a:r>
          <a:r>
            <a:rPr lang="cs-CZ" b="1" dirty="0" err="1"/>
            <a:t>security</a:t>
          </a:r>
          <a:r>
            <a:rPr lang="cs-CZ" b="1" dirty="0"/>
            <a:t> </a:t>
          </a:r>
          <a:r>
            <a:rPr lang="cs-CZ" b="1" dirty="0" err="1"/>
            <a:t>controls</a:t>
          </a:r>
          <a:endParaRPr lang="cs-CZ" b="1" dirty="0"/>
        </a:p>
      </dgm:t>
    </dgm:pt>
    <dgm:pt modelId="{E3BE8102-805D-4F88-BBB7-B02A9B426B9F}" type="parTrans" cxnId="{DF176EFB-DBCD-4F16-9C0D-73F61FFD13AC}">
      <dgm:prSet/>
      <dgm:spPr/>
      <dgm:t>
        <a:bodyPr/>
        <a:lstStyle/>
        <a:p>
          <a:endParaRPr lang="cs-CZ" b="1"/>
        </a:p>
      </dgm:t>
    </dgm:pt>
    <dgm:pt modelId="{54981E64-51D0-4C40-A1AD-87D5FAEABC50}" type="sibTrans" cxnId="{DF176EFB-DBCD-4F16-9C0D-73F61FFD13AC}">
      <dgm:prSet/>
      <dgm:spPr/>
      <dgm:t>
        <a:bodyPr/>
        <a:lstStyle/>
        <a:p>
          <a:endParaRPr lang="cs-CZ" b="1"/>
        </a:p>
      </dgm:t>
    </dgm:pt>
    <dgm:pt modelId="{A78F5CB4-21B3-4CB1-8996-353739ADFEDC}">
      <dgm:prSet phldrT="[Text]"/>
      <dgm:spPr/>
      <dgm:t>
        <a:bodyPr/>
        <a:lstStyle/>
        <a:p>
          <a:r>
            <a:rPr lang="cs-CZ" b="1" dirty="0"/>
            <a:t>Data </a:t>
          </a:r>
          <a:r>
            <a:rPr lang="cs-CZ" b="1" dirty="0" err="1"/>
            <a:t>Consumers</a:t>
          </a:r>
          <a:endParaRPr lang="cs-CZ" b="1" dirty="0"/>
        </a:p>
      </dgm:t>
    </dgm:pt>
    <dgm:pt modelId="{12EC0A8D-3FCD-47B0-A7C6-562FBCEC1A61}" type="parTrans" cxnId="{F3F3DA16-F53D-4C9E-8E81-18CAFBE13B66}">
      <dgm:prSet/>
      <dgm:spPr/>
      <dgm:t>
        <a:bodyPr/>
        <a:lstStyle/>
        <a:p>
          <a:endParaRPr lang="cs-CZ" b="1"/>
        </a:p>
      </dgm:t>
    </dgm:pt>
    <dgm:pt modelId="{85ABC584-3E95-4CFF-B05F-4B1F4462B9DD}" type="sibTrans" cxnId="{F3F3DA16-F53D-4C9E-8E81-18CAFBE13B66}">
      <dgm:prSet/>
      <dgm:spPr/>
      <dgm:t>
        <a:bodyPr/>
        <a:lstStyle/>
        <a:p>
          <a:endParaRPr lang="cs-CZ" b="1"/>
        </a:p>
      </dgm:t>
    </dgm:pt>
    <dgm:pt modelId="{9A0B99D3-DD74-4875-B3EE-924DAD0C82BA}">
      <dgm:prSet phldrT="[Text]"/>
      <dgm:spPr/>
      <dgm:t>
        <a:bodyPr/>
        <a:lstStyle/>
        <a:p>
          <a:r>
            <a:rPr lang="cs-CZ" b="1" dirty="0" err="1"/>
            <a:t>Execute</a:t>
          </a:r>
          <a:r>
            <a:rPr lang="cs-CZ" b="1" dirty="0"/>
            <a:t> business </a:t>
          </a:r>
          <a:r>
            <a:rPr lang="cs-CZ" b="1" dirty="0" err="1"/>
            <a:t>priorities</a:t>
          </a:r>
          <a:endParaRPr lang="cs-CZ" b="1" dirty="0"/>
        </a:p>
      </dgm:t>
    </dgm:pt>
    <dgm:pt modelId="{1065ED8A-D14C-42C1-9837-68AE68F41EE2}" type="parTrans" cxnId="{689BD765-DFB1-47A8-83AA-CB619FE75678}">
      <dgm:prSet/>
      <dgm:spPr/>
      <dgm:t>
        <a:bodyPr/>
        <a:lstStyle/>
        <a:p>
          <a:endParaRPr lang="cs-CZ" b="1"/>
        </a:p>
      </dgm:t>
    </dgm:pt>
    <dgm:pt modelId="{84DB4FB9-F9ED-428F-A2D2-CB58E53B5B4F}" type="sibTrans" cxnId="{689BD765-DFB1-47A8-83AA-CB619FE75678}">
      <dgm:prSet/>
      <dgm:spPr/>
      <dgm:t>
        <a:bodyPr/>
        <a:lstStyle/>
        <a:p>
          <a:endParaRPr lang="cs-CZ" b="1"/>
        </a:p>
      </dgm:t>
    </dgm:pt>
    <dgm:pt modelId="{980B7A17-5ED4-48B6-8E1B-4CDBEA7998BF}">
      <dgm:prSet phldrT="[Text]"/>
      <dgm:spPr/>
      <dgm:t>
        <a:bodyPr/>
        <a:lstStyle/>
        <a:p>
          <a:r>
            <a:rPr lang="cs-CZ" b="1" dirty="0"/>
            <a:t>Data </a:t>
          </a:r>
          <a:r>
            <a:rPr lang="cs-CZ" b="1" dirty="0" err="1"/>
            <a:t>ownership</a:t>
          </a:r>
          <a:r>
            <a:rPr lang="cs-CZ" b="1" dirty="0"/>
            <a:t> and </a:t>
          </a:r>
          <a:r>
            <a:rPr lang="cs-CZ" b="1" dirty="0" err="1"/>
            <a:t>governance</a:t>
          </a:r>
          <a:endParaRPr lang="cs-CZ" b="1" dirty="0"/>
        </a:p>
      </dgm:t>
    </dgm:pt>
    <dgm:pt modelId="{84182609-EC8C-4F60-AAC2-E3DA7C255957}" type="parTrans" cxnId="{3B43A968-F3B5-4510-98D0-7CEB76BF7837}">
      <dgm:prSet/>
      <dgm:spPr/>
      <dgm:t>
        <a:bodyPr/>
        <a:lstStyle/>
        <a:p>
          <a:endParaRPr lang="cs-CZ" b="1"/>
        </a:p>
      </dgm:t>
    </dgm:pt>
    <dgm:pt modelId="{2DE001BD-D18A-4E33-9CBB-037DD95616D1}" type="sibTrans" cxnId="{3B43A968-F3B5-4510-98D0-7CEB76BF7837}">
      <dgm:prSet/>
      <dgm:spPr/>
      <dgm:t>
        <a:bodyPr/>
        <a:lstStyle/>
        <a:p>
          <a:endParaRPr lang="cs-CZ" b="1"/>
        </a:p>
      </dgm:t>
    </dgm:pt>
    <dgm:pt modelId="{77DFBCD5-7E9E-4622-81AD-316D7BBC4166}">
      <dgm:prSet phldrT="[Text]"/>
      <dgm:spPr/>
      <dgm:t>
        <a:bodyPr/>
        <a:lstStyle/>
        <a:p>
          <a:r>
            <a:rPr lang="cs-CZ" b="1" dirty="0"/>
            <a:t>Data </a:t>
          </a:r>
          <a:r>
            <a:rPr lang="cs-CZ" b="1" dirty="0" err="1"/>
            <a:t>Quality</a:t>
          </a:r>
          <a:endParaRPr lang="cs-CZ" b="1" dirty="0"/>
        </a:p>
      </dgm:t>
    </dgm:pt>
    <dgm:pt modelId="{B0A7DFCE-F9D5-4FB8-B00D-6A10E481D8F1}" type="parTrans" cxnId="{9A8947F7-088B-4472-89F1-1B8E53B2E34D}">
      <dgm:prSet/>
      <dgm:spPr/>
      <dgm:t>
        <a:bodyPr/>
        <a:lstStyle/>
        <a:p>
          <a:endParaRPr lang="cs-CZ" b="1"/>
        </a:p>
      </dgm:t>
    </dgm:pt>
    <dgm:pt modelId="{4476A5C2-8A35-4CB3-9E4A-90767FB5C9EE}" type="sibTrans" cxnId="{9A8947F7-088B-4472-89F1-1B8E53B2E34D}">
      <dgm:prSet/>
      <dgm:spPr/>
      <dgm:t>
        <a:bodyPr/>
        <a:lstStyle/>
        <a:p>
          <a:endParaRPr lang="cs-CZ" b="1"/>
        </a:p>
      </dgm:t>
    </dgm:pt>
    <dgm:pt modelId="{69D3C894-8D4C-46BE-A396-8F9D22EFE700}">
      <dgm:prSet phldrT="[Text]"/>
      <dgm:spPr/>
      <dgm:t>
        <a:bodyPr/>
        <a:lstStyle/>
        <a:p>
          <a:r>
            <a:rPr lang="cs-CZ" b="1" dirty="0"/>
            <a:t>Metadata Management</a:t>
          </a:r>
        </a:p>
      </dgm:t>
    </dgm:pt>
    <dgm:pt modelId="{1BCD4119-AA32-4A91-B87B-00DDD888BA32}" type="parTrans" cxnId="{3B5D49BC-B954-436B-8A6C-4ADBF37F7D8C}">
      <dgm:prSet/>
      <dgm:spPr/>
      <dgm:t>
        <a:bodyPr/>
        <a:lstStyle/>
        <a:p>
          <a:endParaRPr lang="cs-CZ" b="1"/>
        </a:p>
      </dgm:t>
    </dgm:pt>
    <dgm:pt modelId="{7062069D-2C8D-4C44-9936-8304A0CA9D58}" type="sibTrans" cxnId="{3B5D49BC-B954-436B-8A6C-4ADBF37F7D8C}">
      <dgm:prSet/>
      <dgm:spPr/>
      <dgm:t>
        <a:bodyPr/>
        <a:lstStyle/>
        <a:p>
          <a:endParaRPr lang="cs-CZ" b="1"/>
        </a:p>
      </dgm:t>
    </dgm:pt>
    <dgm:pt modelId="{21E7F787-26F2-4BC6-9C84-8C4557B39879}">
      <dgm:prSet phldrT="[Text]"/>
      <dgm:spPr/>
      <dgm:t>
        <a:bodyPr/>
        <a:lstStyle/>
        <a:p>
          <a:r>
            <a:rPr lang="cs-CZ" b="1" dirty="0"/>
            <a:t>Build and run </a:t>
          </a:r>
          <a:r>
            <a:rPr lang="cs-CZ" b="1" dirty="0" err="1"/>
            <a:t>the</a:t>
          </a:r>
          <a:r>
            <a:rPr lang="cs-CZ" b="1" dirty="0"/>
            <a:t> </a:t>
          </a:r>
          <a:r>
            <a:rPr lang="cs-CZ" b="1" dirty="0" err="1"/>
            <a:t>platform</a:t>
          </a:r>
          <a:endParaRPr lang="cs-CZ" b="1" dirty="0"/>
        </a:p>
      </dgm:t>
    </dgm:pt>
    <dgm:pt modelId="{C42F7C46-A074-4259-A7EA-EDCE1FA0D116}" type="parTrans" cxnId="{6928E98B-6C07-4726-8D43-DB3AC549BBF5}">
      <dgm:prSet/>
      <dgm:spPr/>
      <dgm:t>
        <a:bodyPr/>
        <a:lstStyle/>
        <a:p>
          <a:endParaRPr lang="cs-CZ" b="1"/>
        </a:p>
      </dgm:t>
    </dgm:pt>
    <dgm:pt modelId="{B3B8DF0E-5275-443D-94F4-E800B23101C4}" type="sibTrans" cxnId="{6928E98B-6C07-4726-8D43-DB3AC549BBF5}">
      <dgm:prSet/>
      <dgm:spPr/>
      <dgm:t>
        <a:bodyPr/>
        <a:lstStyle/>
        <a:p>
          <a:endParaRPr lang="cs-CZ" b="1"/>
        </a:p>
      </dgm:t>
    </dgm:pt>
    <dgm:pt modelId="{BDE9C93F-30CD-4ED0-AEF3-9076A86014FB}">
      <dgm:prSet phldrT="[Text]"/>
      <dgm:spPr/>
      <dgm:t>
        <a:bodyPr/>
        <a:lstStyle/>
        <a:p>
          <a:r>
            <a:rPr lang="cs-CZ" b="1" dirty="0" err="1"/>
            <a:t>Simplify</a:t>
          </a:r>
          <a:r>
            <a:rPr lang="cs-CZ" b="1" dirty="0"/>
            <a:t> on-</a:t>
          </a:r>
          <a:r>
            <a:rPr lang="cs-CZ" b="1" dirty="0" err="1"/>
            <a:t>boarding</a:t>
          </a:r>
          <a:endParaRPr lang="cs-CZ" b="1" dirty="0"/>
        </a:p>
      </dgm:t>
    </dgm:pt>
    <dgm:pt modelId="{931846D2-0FDD-4D2D-A18A-2793BD1B7D7F}" type="parTrans" cxnId="{4E54425B-1365-48CA-8519-DAE6F8DD05A7}">
      <dgm:prSet/>
      <dgm:spPr/>
      <dgm:t>
        <a:bodyPr/>
        <a:lstStyle/>
        <a:p>
          <a:endParaRPr lang="cs-CZ" b="1"/>
        </a:p>
      </dgm:t>
    </dgm:pt>
    <dgm:pt modelId="{B71CBAE8-142E-473D-9E37-2FE609270A7C}" type="sibTrans" cxnId="{4E54425B-1365-48CA-8519-DAE6F8DD05A7}">
      <dgm:prSet/>
      <dgm:spPr/>
      <dgm:t>
        <a:bodyPr/>
        <a:lstStyle/>
        <a:p>
          <a:endParaRPr lang="cs-CZ" b="1"/>
        </a:p>
      </dgm:t>
    </dgm:pt>
    <dgm:pt modelId="{C7EE52ED-5686-4051-A7CB-A6B687B5FF9B}">
      <dgm:prSet phldrT="[Text]"/>
      <dgm:spPr/>
      <dgm:t>
        <a:bodyPr/>
        <a:lstStyle/>
        <a:p>
          <a:r>
            <a:rPr lang="cs-CZ" b="1" dirty="0" err="1"/>
            <a:t>Training</a:t>
          </a:r>
          <a:r>
            <a:rPr lang="cs-CZ" b="1" dirty="0"/>
            <a:t> and </a:t>
          </a:r>
          <a:r>
            <a:rPr lang="cs-CZ" b="1" dirty="0" err="1"/>
            <a:t>community</a:t>
          </a:r>
          <a:endParaRPr lang="cs-CZ" b="1" dirty="0"/>
        </a:p>
      </dgm:t>
    </dgm:pt>
    <dgm:pt modelId="{9CC1D516-0DFD-4FD0-B4C1-B4F9E1D6FE26}" type="parTrans" cxnId="{C071CDE6-322B-4B35-B34C-C6BA2EC92866}">
      <dgm:prSet/>
      <dgm:spPr/>
      <dgm:t>
        <a:bodyPr/>
        <a:lstStyle/>
        <a:p>
          <a:endParaRPr lang="cs-CZ" b="1"/>
        </a:p>
      </dgm:t>
    </dgm:pt>
    <dgm:pt modelId="{DD00D7EA-2240-4428-9601-EBC6182028DD}" type="sibTrans" cxnId="{C071CDE6-322B-4B35-B34C-C6BA2EC92866}">
      <dgm:prSet/>
      <dgm:spPr/>
      <dgm:t>
        <a:bodyPr/>
        <a:lstStyle/>
        <a:p>
          <a:endParaRPr lang="cs-CZ" b="1"/>
        </a:p>
      </dgm:t>
    </dgm:pt>
    <dgm:pt modelId="{63A517AA-71E6-4A3C-9B70-86268AB48032}">
      <dgm:prSet phldrT="[Text]"/>
      <dgm:spPr/>
      <dgm:t>
        <a:bodyPr/>
        <a:lstStyle/>
        <a:p>
          <a:r>
            <a:rPr lang="cs-CZ" b="1" dirty="0"/>
            <a:t>Business </a:t>
          </a:r>
          <a:r>
            <a:rPr lang="cs-CZ" b="1" dirty="0" err="1"/>
            <a:t>analytics</a:t>
          </a:r>
          <a:r>
            <a:rPr lang="cs-CZ" b="1" dirty="0"/>
            <a:t> development</a:t>
          </a:r>
        </a:p>
      </dgm:t>
    </dgm:pt>
    <dgm:pt modelId="{A684C724-38C5-4B22-B6D9-A9CC70AD116D}" type="parTrans" cxnId="{12F5E702-251C-4BD2-9C92-61268915CF8F}">
      <dgm:prSet/>
      <dgm:spPr/>
      <dgm:t>
        <a:bodyPr/>
        <a:lstStyle/>
        <a:p>
          <a:endParaRPr lang="cs-CZ" b="1"/>
        </a:p>
      </dgm:t>
    </dgm:pt>
    <dgm:pt modelId="{C5799092-822A-4C74-BDF3-C0893326FD71}" type="sibTrans" cxnId="{12F5E702-251C-4BD2-9C92-61268915CF8F}">
      <dgm:prSet/>
      <dgm:spPr/>
      <dgm:t>
        <a:bodyPr/>
        <a:lstStyle/>
        <a:p>
          <a:endParaRPr lang="cs-CZ" b="1"/>
        </a:p>
      </dgm:t>
    </dgm:pt>
    <dgm:pt modelId="{979948E7-AA29-4612-B608-55334E92769E}">
      <dgm:prSet phldrT="[Text]"/>
      <dgm:spPr/>
      <dgm:t>
        <a:bodyPr/>
        <a:lstStyle/>
        <a:p>
          <a:r>
            <a:rPr lang="cs-CZ" b="1" dirty="0"/>
            <a:t>Data Discovery</a:t>
          </a:r>
        </a:p>
      </dgm:t>
    </dgm:pt>
    <dgm:pt modelId="{205BC65B-BE18-4E65-AF77-909693DC7E26}" type="parTrans" cxnId="{E68E0F65-695D-4BE2-8BBD-3508E8AB9D12}">
      <dgm:prSet/>
      <dgm:spPr/>
      <dgm:t>
        <a:bodyPr/>
        <a:lstStyle/>
        <a:p>
          <a:endParaRPr lang="cs-CZ" b="1"/>
        </a:p>
      </dgm:t>
    </dgm:pt>
    <dgm:pt modelId="{0DE364D8-4BEE-4B62-938B-E455625821D0}" type="sibTrans" cxnId="{E68E0F65-695D-4BE2-8BBD-3508E8AB9D12}">
      <dgm:prSet/>
      <dgm:spPr/>
      <dgm:t>
        <a:bodyPr/>
        <a:lstStyle/>
        <a:p>
          <a:endParaRPr lang="cs-CZ" b="1"/>
        </a:p>
      </dgm:t>
    </dgm:pt>
    <dgm:pt modelId="{51AC418F-F80D-4907-A3D1-33D92BFE3F91}">
      <dgm:prSet phldrT="[Text]"/>
      <dgm:spPr/>
      <dgm:t>
        <a:bodyPr/>
        <a:lstStyle/>
        <a:p>
          <a:r>
            <a:rPr lang="cs-CZ" b="1" dirty="0"/>
            <a:t>Data </a:t>
          </a:r>
          <a:r>
            <a:rPr lang="cs-CZ" b="1" dirty="0" err="1"/>
            <a:t>Pipeline</a:t>
          </a:r>
          <a:r>
            <a:rPr lang="cs-CZ" b="1" dirty="0"/>
            <a:t> development</a:t>
          </a:r>
        </a:p>
      </dgm:t>
    </dgm:pt>
    <dgm:pt modelId="{86179BDF-D421-49FB-BFF2-E4ED4838FE54}" type="parTrans" cxnId="{B548C006-BD04-479D-8FB9-D011E2F13836}">
      <dgm:prSet/>
      <dgm:spPr/>
      <dgm:t>
        <a:bodyPr/>
        <a:lstStyle/>
        <a:p>
          <a:endParaRPr lang="cs-CZ" b="1"/>
        </a:p>
      </dgm:t>
    </dgm:pt>
    <dgm:pt modelId="{4A41E83B-AA4C-4692-BC35-568C6DE13F97}" type="sibTrans" cxnId="{B548C006-BD04-479D-8FB9-D011E2F13836}">
      <dgm:prSet/>
      <dgm:spPr/>
      <dgm:t>
        <a:bodyPr/>
        <a:lstStyle/>
        <a:p>
          <a:endParaRPr lang="cs-CZ" b="1"/>
        </a:p>
      </dgm:t>
    </dgm:pt>
    <dgm:pt modelId="{D129BC96-E59A-4B1B-B29C-F34D3DA76E5A}">
      <dgm:prSet phldrT="[Text]"/>
      <dgm:spPr/>
      <dgm:t>
        <a:bodyPr/>
        <a:lstStyle/>
        <a:p>
          <a:r>
            <a:rPr lang="cs-CZ" b="1" dirty="0" err="1"/>
            <a:t>Creation</a:t>
          </a:r>
          <a:r>
            <a:rPr lang="cs-CZ" b="1" dirty="0"/>
            <a:t> </a:t>
          </a:r>
          <a:r>
            <a:rPr lang="cs-CZ" b="1" dirty="0" err="1"/>
            <a:t>of</a:t>
          </a:r>
          <a:r>
            <a:rPr lang="cs-CZ" b="1" dirty="0"/>
            <a:t> </a:t>
          </a:r>
          <a:r>
            <a:rPr lang="cs-CZ" b="1" dirty="0" err="1"/>
            <a:t>new</a:t>
          </a:r>
          <a:r>
            <a:rPr lang="cs-CZ" b="1" dirty="0"/>
            <a:t> </a:t>
          </a:r>
          <a:r>
            <a:rPr lang="cs-CZ" b="1" dirty="0" err="1"/>
            <a:t>insights</a:t>
          </a:r>
          <a:endParaRPr lang="cs-CZ" b="1" dirty="0"/>
        </a:p>
      </dgm:t>
    </dgm:pt>
    <dgm:pt modelId="{8E419108-8059-4D7F-9AE4-E5C3A7096F41}" type="parTrans" cxnId="{32E67A38-43E6-4641-AC42-0C6F64ED3FF9}">
      <dgm:prSet/>
      <dgm:spPr/>
      <dgm:t>
        <a:bodyPr/>
        <a:lstStyle/>
        <a:p>
          <a:endParaRPr lang="cs-CZ" b="1"/>
        </a:p>
      </dgm:t>
    </dgm:pt>
    <dgm:pt modelId="{B6D7C128-9764-4525-8FCB-DECF26A988E7}" type="sibTrans" cxnId="{32E67A38-43E6-4641-AC42-0C6F64ED3FF9}">
      <dgm:prSet/>
      <dgm:spPr/>
      <dgm:t>
        <a:bodyPr/>
        <a:lstStyle/>
        <a:p>
          <a:endParaRPr lang="cs-CZ" b="1"/>
        </a:p>
      </dgm:t>
    </dgm:pt>
    <dgm:pt modelId="{11735EB3-E1C7-4746-B75D-68B7A44EC408}" type="pres">
      <dgm:prSet presAssocID="{A9C18E79-FB01-4F0A-A24A-E3FE1EC12520}" presName="Name0" presStyleCnt="0">
        <dgm:presLayoutVars>
          <dgm:chMax/>
          <dgm:chPref/>
          <dgm:dir/>
          <dgm:animLvl val="lvl"/>
        </dgm:presLayoutVars>
      </dgm:prSet>
      <dgm:spPr/>
    </dgm:pt>
    <dgm:pt modelId="{A51B822E-0E53-4AA0-B155-FE3F12337DA7}" type="pres">
      <dgm:prSet presAssocID="{5E9F7BE3-6F0A-49C6-B1B4-ACC4D152F089}" presName="composite" presStyleCnt="0"/>
      <dgm:spPr/>
    </dgm:pt>
    <dgm:pt modelId="{51475CC9-C89E-4A51-8749-52D7BA76F4CD}" type="pres">
      <dgm:prSet presAssocID="{5E9F7BE3-6F0A-49C6-B1B4-ACC4D152F089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752D3FBA-8808-473C-A831-A866E489B1E4}" type="pres">
      <dgm:prSet presAssocID="{5E9F7BE3-6F0A-49C6-B1B4-ACC4D152F089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1D6913D3-270E-4D70-A341-BC5C0128BAEB}" type="pres">
      <dgm:prSet presAssocID="{5E9F7BE3-6F0A-49C6-B1B4-ACC4D152F089}" presName="BalanceSpacing" presStyleCnt="0"/>
      <dgm:spPr/>
    </dgm:pt>
    <dgm:pt modelId="{5BC90F96-CEF3-4049-BA59-558EFA6965B4}" type="pres">
      <dgm:prSet presAssocID="{5E9F7BE3-6F0A-49C6-B1B4-ACC4D152F089}" presName="BalanceSpacing1" presStyleCnt="0"/>
      <dgm:spPr/>
    </dgm:pt>
    <dgm:pt modelId="{D60D68A5-08C1-4162-B3B1-63FC804ADE4F}" type="pres">
      <dgm:prSet presAssocID="{649CD72D-56CC-4713-AD8F-433CA95CC77D}" presName="Accent1Text" presStyleLbl="node1" presStyleIdx="1" presStyleCnt="6"/>
      <dgm:spPr/>
    </dgm:pt>
    <dgm:pt modelId="{BE5097C8-5066-4C10-A625-03F4F2382E86}" type="pres">
      <dgm:prSet presAssocID="{649CD72D-56CC-4713-AD8F-433CA95CC77D}" presName="spaceBetweenRectangles" presStyleCnt="0"/>
      <dgm:spPr/>
    </dgm:pt>
    <dgm:pt modelId="{0667049C-550B-412C-87D6-3ACABD2ACF8F}" type="pres">
      <dgm:prSet presAssocID="{C2F6D3C9-95C8-4B29-AFD5-C7D6E7924460}" presName="composite" presStyleCnt="0"/>
      <dgm:spPr/>
    </dgm:pt>
    <dgm:pt modelId="{7947A114-9249-4E7C-8BC5-094FD0AF37E0}" type="pres">
      <dgm:prSet presAssocID="{C2F6D3C9-95C8-4B29-AFD5-C7D6E7924460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ABB02FA1-A57C-4BEA-846B-6058353F2FC7}" type="pres">
      <dgm:prSet presAssocID="{C2F6D3C9-95C8-4B29-AFD5-C7D6E7924460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E3A0B519-7C24-455B-81BA-949E881D1485}" type="pres">
      <dgm:prSet presAssocID="{C2F6D3C9-95C8-4B29-AFD5-C7D6E7924460}" presName="BalanceSpacing" presStyleCnt="0"/>
      <dgm:spPr/>
    </dgm:pt>
    <dgm:pt modelId="{AB606163-8DC3-4A8C-8F7D-937F262E85CC}" type="pres">
      <dgm:prSet presAssocID="{C2F6D3C9-95C8-4B29-AFD5-C7D6E7924460}" presName="BalanceSpacing1" presStyleCnt="0"/>
      <dgm:spPr/>
    </dgm:pt>
    <dgm:pt modelId="{B0D8A393-0A98-463E-ACF3-353CE0AB1E11}" type="pres">
      <dgm:prSet presAssocID="{FD4B0AFE-9093-4B46-BBE5-5AA47A1685AC}" presName="Accent1Text" presStyleLbl="node1" presStyleIdx="3" presStyleCnt="6"/>
      <dgm:spPr/>
    </dgm:pt>
    <dgm:pt modelId="{0A03C5D7-2CDC-4503-86DB-B08EDD45A72C}" type="pres">
      <dgm:prSet presAssocID="{FD4B0AFE-9093-4B46-BBE5-5AA47A1685AC}" presName="spaceBetweenRectangles" presStyleCnt="0"/>
      <dgm:spPr/>
    </dgm:pt>
    <dgm:pt modelId="{FB0D67B0-8F85-4CDE-AACF-0A3EAE1B22E4}" type="pres">
      <dgm:prSet presAssocID="{A78F5CB4-21B3-4CB1-8996-353739ADFEDC}" presName="composite" presStyleCnt="0"/>
      <dgm:spPr/>
    </dgm:pt>
    <dgm:pt modelId="{6F241685-8FCD-4DEE-A332-4FECA970FF18}" type="pres">
      <dgm:prSet presAssocID="{A78F5CB4-21B3-4CB1-8996-353739ADFEDC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AB0B6A03-9B14-43DD-8CA3-E686666D06EF}" type="pres">
      <dgm:prSet presAssocID="{A78F5CB4-21B3-4CB1-8996-353739ADFEDC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B5398582-4221-4D4A-909F-F7E9BE99FD09}" type="pres">
      <dgm:prSet presAssocID="{A78F5CB4-21B3-4CB1-8996-353739ADFEDC}" presName="BalanceSpacing" presStyleCnt="0"/>
      <dgm:spPr/>
    </dgm:pt>
    <dgm:pt modelId="{90D3204E-DFA8-462A-8AF4-6726F9C8AEDF}" type="pres">
      <dgm:prSet presAssocID="{A78F5CB4-21B3-4CB1-8996-353739ADFEDC}" presName="BalanceSpacing1" presStyleCnt="0"/>
      <dgm:spPr/>
    </dgm:pt>
    <dgm:pt modelId="{C3C357DA-C4FB-4944-B4A6-AE9216752DE0}" type="pres">
      <dgm:prSet presAssocID="{85ABC584-3E95-4CFF-B05F-4B1F4462B9DD}" presName="Accent1Text" presStyleLbl="node1" presStyleIdx="5" presStyleCnt="6"/>
      <dgm:spPr/>
    </dgm:pt>
  </dgm:ptLst>
  <dgm:cxnLst>
    <dgm:cxn modelId="{12F5E702-251C-4BD2-9C92-61268915CF8F}" srcId="{A78F5CB4-21B3-4CB1-8996-353739ADFEDC}" destId="{63A517AA-71E6-4A3C-9B70-86268AB48032}" srcOrd="1" destOrd="0" parTransId="{A684C724-38C5-4B22-B6D9-A9CC70AD116D}" sibTransId="{C5799092-822A-4C74-BDF3-C0893326FD71}"/>
    <dgm:cxn modelId="{B548C006-BD04-479D-8FB9-D011E2F13836}" srcId="{A78F5CB4-21B3-4CB1-8996-353739ADFEDC}" destId="{51AC418F-F80D-4907-A3D1-33D92BFE3F91}" srcOrd="3" destOrd="0" parTransId="{86179BDF-D421-49FB-BFF2-E4ED4838FE54}" sibTransId="{4A41E83B-AA4C-4692-BC35-568C6DE13F97}"/>
    <dgm:cxn modelId="{9BD96510-2B7B-41F3-9D35-E18247D3EE25}" type="presOf" srcId="{9A0B99D3-DD74-4875-B3EE-924DAD0C82BA}" destId="{AB0B6A03-9B14-43DD-8CA3-E686666D06EF}" srcOrd="0" destOrd="0" presId="urn:microsoft.com/office/officeart/2008/layout/AlternatingHexagons"/>
    <dgm:cxn modelId="{F3F3DA16-F53D-4C9E-8E81-18CAFBE13B66}" srcId="{A9C18E79-FB01-4F0A-A24A-E3FE1EC12520}" destId="{A78F5CB4-21B3-4CB1-8996-353739ADFEDC}" srcOrd="2" destOrd="0" parTransId="{12EC0A8D-3FCD-47B0-A7C6-562FBCEC1A61}" sibTransId="{85ABC584-3E95-4CFF-B05F-4B1F4462B9DD}"/>
    <dgm:cxn modelId="{63874018-716B-4691-AF8A-FFF8106B9C16}" type="presOf" srcId="{383D854D-449A-46F5-A5F7-2CD9A3A68A05}" destId="{752D3FBA-8808-473C-A831-A866E489B1E4}" srcOrd="0" destOrd="0" presId="urn:microsoft.com/office/officeart/2008/layout/AlternatingHexagons"/>
    <dgm:cxn modelId="{FF259723-80F5-4B8C-85BC-6DFEC54D9CDC}" type="presOf" srcId="{C1B56DB6-B3CB-4DAE-B7A2-E9C5E8D21749}" destId="{ABB02FA1-A57C-4BEA-846B-6058353F2FC7}" srcOrd="0" destOrd="0" presId="urn:microsoft.com/office/officeart/2008/layout/AlternatingHexagons"/>
    <dgm:cxn modelId="{BEFFDB29-2D1B-47AB-BF50-E0290C71847D}" srcId="{A9C18E79-FB01-4F0A-A24A-E3FE1EC12520}" destId="{C2F6D3C9-95C8-4B29-AFD5-C7D6E7924460}" srcOrd="1" destOrd="0" parTransId="{803C5630-9D9C-4942-9D8A-619E1842C2ED}" sibTransId="{FD4B0AFE-9093-4B46-BBE5-5AA47A1685AC}"/>
    <dgm:cxn modelId="{ED6A072C-9DCE-487D-96D0-F0EDC64C4717}" type="presOf" srcId="{C7EE52ED-5686-4051-A7CB-A6B687B5FF9B}" destId="{ABB02FA1-A57C-4BEA-846B-6058353F2FC7}" srcOrd="0" destOrd="3" presId="urn:microsoft.com/office/officeart/2008/layout/AlternatingHexagons"/>
    <dgm:cxn modelId="{32E67A38-43E6-4641-AC42-0C6F64ED3FF9}" srcId="{A78F5CB4-21B3-4CB1-8996-353739ADFEDC}" destId="{D129BC96-E59A-4B1B-B29C-F34D3DA76E5A}" srcOrd="4" destOrd="0" parTransId="{8E419108-8059-4D7F-9AE4-E5C3A7096F41}" sibTransId="{B6D7C128-9764-4525-8FCB-DECF26A988E7}"/>
    <dgm:cxn modelId="{4534C63B-A461-4794-979C-48DD7554E3D7}" type="presOf" srcId="{85ABC584-3E95-4CFF-B05F-4B1F4462B9DD}" destId="{C3C357DA-C4FB-4944-B4A6-AE9216752DE0}" srcOrd="0" destOrd="0" presId="urn:microsoft.com/office/officeart/2008/layout/AlternatingHexagons"/>
    <dgm:cxn modelId="{4E54425B-1365-48CA-8519-DAE6F8DD05A7}" srcId="{C2F6D3C9-95C8-4B29-AFD5-C7D6E7924460}" destId="{BDE9C93F-30CD-4ED0-AEF3-9076A86014FB}" srcOrd="2" destOrd="0" parTransId="{931846D2-0FDD-4D2D-A18A-2793BD1B7D7F}" sibTransId="{B71CBAE8-142E-473D-9E37-2FE609270A7C}"/>
    <dgm:cxn modelId="{C3369D43-3F90-43C0-8946-10CE69C00528}" type="presOf" srcId="{63A517AA-71E6-4A3C-9B70-86268AB48032}" destId="{AB0B6A03-9B14-43DD-8CA3-E686666D06EF}" srcOrd="0" destOrd="1" presId="urn:microsoft.com/office/officeart/2008/layout/AlternatingHexagons"/>
    <dgm:cxn modelId="{E68E0F65-695D-4BE2-8BBD-3508E8AB9D12}" srcId="{A78F5CB4-21B3-4CB1-8996-353739ADFEDC}" destId="{979948E7-AA29-4612-B608-55334E92769E}" srcOrd="2" destOrd="0" parTransId="{205BC65B-BE18-4E65-AF77-909693DC7E26}" sibTransId="{0DE364D8-4BEE-4B62-938B-E455625821D0}"/>
    <dgm:cxn modelId="{689BD765-DFB1-47A8-83AA-CB619FE75678}" srcId="{A78F5CB4-21B3-4CB1-8996-353739ADFEDC}" destId="{9A0B99D3-DD74-4875-B3EE-924DAD0C82BA}" srcOrd="0" destOrd="0" parTransId="{1065ED8A-D14C-42C1-9837-68AE68F41EE2}" sibTransId="{84DB4FB9-F9ED-428F-A2D2-CB58E53B5B4F}"/>
    <dgm:cxn modelId="{670D5C68-AC27-4025-AE04-071512FA5BDB}" type="presOf" srcId="{77DFBCD5-7E9E-4622-81AD-316D7BBC4166}" destId="{752D3FBA-8808-473C-A831-A866E489B1E4}" srcOrd="0" destOrd="2" presId="urn:microsoft.com/office/officeart/2008/layout/AlternatingHexagons"/>
    <dgm:cxn modelId="{3B43A968-F3B5-4510-98D0-7CEB76BF7837}" srcId="{5E9F7BE3-6F0A-49C6-B1B4-ACC4D152F089}" destId="{980B7A17-5ED4-48B6-8E1B-4CDBEA7998BF}" srcOrd="1" destOrd="0" parTransId="{84182609-EC8C-4F60-AAC2-E3DA7C255957}" sibTransId="{2DE001BD-D18A-4E33-9CBB-037DD95616D1}"/>
    <dgm:cxn modelId="{0DDF1C6E-D9F4-4FB5-94DE-702F7C7B2019}" type="presOf" srcId="{C2F6D3C9-95C8-4B29-AFD5-C7D6E7924460}" destId="{7947A114-9249-4E7C-8BC5-094FD0AF37E0}" srcOrd="0" destOrd="0" presId="urn:microsoft.com/office/officeart/2008/layout/AlternatingHexagons"/>
    <dgm:cxn modelId="{5977CF81-4492-4F37-8B0F-FB0C8F24B5F2}" type="presOf" srcId="{980B7A17-5ED4-48B6-8E1B-4CDBEA7998BF}" destId="{752D3FBA-8808-473C-A831-A866E489B1E4}" srcOrd="0" destOrd="1" presId="urn:microsoft.com/office/officeart/2008/layout/AlternatingHexagons"/>
    <dgm:cxn modelId="{7C8D1188-5894-42AB-9845-3F88D1029E32}" type="presOf" srcId="{BDE9C93F-30CD-4ED0-AEF3-9076A86014FB}" destId="{ABB02FA1-A57C-4BEA-846B-6058353F2FC7}" srcOrd="0" destOrd="2" presId="urn:microsoft.com/office/officeart/2008/layout/AlternatingHexagons"/>
    <dgm:cxn modelId="{110FE388-2551-42B3-8252-09A9E3C9AD5B}" srcId="{5E9F7BE3-6F0A-49C6-B1B4-ACC4D152F089}" destId="{383D854D-449A-46F5-A5F7-2CD9A3A68A05}" srcOrd="0" destOrd="0" parTransId="{6B9EB18C-3D14-4068-9A70-24BD17D0A603}" sibTransId="{D4242F55-B4D8-490A-97E2-99E4E9AC84ED}"/>
    <dgm:cxn modelId="{6928E98B-6C07-4726-8D43-DB3AC549BBF5}" srcId="{C2F6D3C9-95C8-4B29-AFD5-C7D6E7924460}" destId="{21E7F787-26F2-4BC6-9C84-8C4557B39879}" srcOrd="1" destOrd="0" parTransId="{C42F7C46-A074-4259-A7EA-EDCE1FA0D116}" sibTransId="{B3B8DF0E-5275-443D-94F4-E800B23101C4}"/>
    <dgm:cxn modelId="{89C03195-5AF7-4AEA-B780-63BE6AD89A56}" type="presOf" srcId="{51AC418F-F80D-4907-A3D1-33D92BFE3F91}" destId="{AB0B6A03-9B14-43DD-8CA3-E686666D06EF}" srcOrd="0" destOrd="3" presId="urn:microsoft.com/office/officeart/2008/layout/AlternatingHexagons"/>
    <dgm:cxn modelId="{08C28F95-115C-4B41-84A3-E4D908F8FF90}" type="presOf" srcId="{979948E7-AA29-4612-B608-55334E92769E}" destId="{AB0B6A03-9B14-43DD-8CA3-E686666D06EF}" srcOrd="0" destOrd="2" presId="urn:microsoft.com/office/officeart/2008/layout/AlternatingHexagons"/>
    <dgm:cxn modelId="{406B349B-A2B7-4688-BDB4-E126F0B4A77F}" type="presOf" srcId="{21E7F787-26F2-4BC6-9C84-8C4557B39879}" destId="{ABB02FA1-A57C-4BEA-846B-6058353F2FC7}" srcOrd="0" destOrd="1" presId="urn:microsoft.com/office/officeart/2008/layout/AlternatingHexagons"/>
    <dgm:cxn modelId="{F319D89C-AA2C-427E-8881-208733C6E71A}" type="presOf" srcId="{5E9F7BE3-6F0A-49C6-B1B4-ACC4D152F089}" destId="{51475CC9-C89E-4A51-8749-52D7BA76F4CD}" srcOrd="0" destOrd="0" presId="urn:microsoft.com/office/officeart/2008/layout/AlternatingHexagons"/>
    <dgm:cxn modelId="{FB79D6B1-06A7-4E64-AA8D-95DF6EE4BA89}" type="presOf" srcId="{69D3C894-8D4C-46BE-A396-8F9D22EFE700}" destId="{752D3FBA-8808-473C-A831-A866E489B1E4}" srcOrd="0" destOrd="3" presId="urn:microsoft.com/office/officeart/2008/layout/AlternatingHexagons"/>
    <dgm:cxn modelId="{3B5D49BC-B954-436B-8A6C-4ADBF37F7D8C}" srcId="{5E9F7BE3-6F0A-49C6-B1B4-ACC4D152F089}" destId="{69D3C894-8D4C-46BE-A396-8F9D22EFE700}" srcOrd="3" destOrd="0" parTransId="{1BCD4119-AA32-4A91-B87B-00DDD888BA32}" sibTransId="{7062069D-2C8D-4C44-9936-8304A0CA9D58}"/>
    <dgm:cxn modelId="{A9BE7BC4-39FA-47E1-A570-AA325122DD87}" type="presOf" srcId="{FD4B0AFE-9093-4B46-BBE5-5AA47A1685AC}" destId="{B0D8A393-0A98-463E-ACF3-353CE0AB1E11}" srcOrd="0" destOrd="0" presId="urn:microsoft.com/office/officeart/2008/layout/AlternatingHexagons"/>
    <dgm:cxn modelId="{D637A7D6-8204-4928-B9F8-FDA98445B2C7}" srcId="{A9C18E79-FB01-4F0A-A24A-E3FE1EC12520}" destId="{5E9F7BE3-6F0A-49C6-B1B4-ACC4D152F089}" srcOrd="0" destOrd="0" parTransId="{1960D62A-67B7-4B64-BC57-026AA81EED48}" sibTransId="{649CD72D-56CC-4713-AD8F-433CA95CC77D}"/>
    <dgm:cxn modelId="{C071CDE6-322B-4B35-B34C-C6BA2EC92866}" srcId="{C2F6D3C9-95C8-4B29-AFD5-C7D6E7924460}" destId="{C7EE52ED-5686-4051-A7CB-A6B687B5FF9B}" srcOrd="3" destOrd="0" parTransId="{9CC1D516-0DFD-4FD0-B4C1-B4F9E1D6FE26}" sibTransId="{DD00D7EA-2240-4428-9601-EBC6182028DD}"/>
    <dgm:cxn modelId="{20D01EEF-CE84-4D2F-A672-A451DDFA2902}" type="presOf" srcId="{A78F5CB4-21B3-4CB1-8996-353739ADFEDC}" destId="{6F241685-8FCD-4DEE-A332-4FECA970FF18}" srcOrd="0" destOrd="0" presId="urn:microsoft.com/office/officeart/2008/layout/AlternatingHexagons"/>
    <dgm:cxn modelId="{9A8947F7-088B-4472-89F1-1B8E53B2E34D}" srcId="{5E9F7BE3-6F0A-49C6-B1B4-ACC4D152F089}" destId="{77DFBCD5-7E9E-4622-81AD-316D7BBC4166}" srcOrd="2" destOrd="0" parTransId="{B0A7DFCE-F9D5-4FB8-B00D-6A10E481D8F1}" sibTransId="{4476A5C2-8A35-4CB3-9E4A-90767FB5C9EE}"/>
    <dgm:cxn modelId="{3FD64FF8-B09F-41EF-BC1C-F8CADB7278EA}" type="presOf" srcId="{649CD72D-56CC-4713-AD8F-433CA95CC77D}" destId="{D60D68A5-08C1-4162-B3B1-63FC804ADE4F}" srcOrd="0" destOrd="0" presId="urn:microsoft.com/office/officeart/2008/layout/AlternatingHexagons"/>
    <dgm:cxn modelId="{DF176EFB-DBCD-4F16-9C0D-73F61FFD13AC}" srcId="{C2F6D3C9-95C8-4B29-AFD5-C7D6E7924460}" destId="{C1B56DB6-B3CB-4DAE-B7A2-E9C5E8D21749}" srcOrd="0" destOrd="0" parTransId="{E3BE8102-805D-4F88-BBB7-B02A9B426B9F}" sibTransId="{54981E64-51D0-4C40-A1AD-87D5FAEABC50}"/>
    <dgm:cxn modelId="{C6B435FC-E3CA-4DBF-91E5-42AEEF959AF5}" type="presOf" srcId="{A9C18E79-FB01-4F0A-A24A-E3FE1EC12520}" destId="{11735EB3-E1C7-4746-B75D-68B7A44EC408}" srcOrd="0" destOrd="0" presId="urn:microsoft.com/office/officeart/2008/layout/AlternatingHexagons"/>
    <dgm:cxn modelId="{FC7194FE-3BF1-44F5-A837-89E43DEB2C2F}" type="presOf" srcId="{D129BC96-E59A-4B1B-B29C-F34D3DA76E5A}" destId="{AB0B6A03-9B14-43DD-8CA3-E686666D06EF}" srcOrd="0" destOrd="4" presId="urn:microsoft.com/office/officeart/2008/layout/AlternatingHexagons"/>
    <dgm:cxn modelId="{1CAA5FDC-B133-484F-B200-C074128C8606}" type="presParOf" srcId="{11735EB3-E1C7-4746-B75D-68B7A44EC408}" destId="{A51B822E-0E53-4AA0-B155-FE3F12337DA7}" srcOrd="0" destOrd="0" presId="urn:microsoft.com/office/officeart/2008/layout/AlternatingHexagons"/>
    <dgm:cxn modelId="{3FD9BB7E-54C0-4FBA-97B6-D93E6D3D4CD9}" type="presParOf" srcId="{A51B822E-0E53-4AA0-B155-FE3F12337DA7}" destId="{51475CC9-C89E-4A51-8749-52D7BA76F4CD}" srcOrd="0" destOrd="0" presId="urn:microsoft.com/office/officeart/2008/layout/AlternatingHexagons"/>
    <dgm:cxn modelId="{5F197F9F-EE87-45B8-928F-827C9CF12B8C}" type="presParOf" srcId="{A51B822E-0E53-4AA0-B155-FE3F12337DA7}" destId="{752D3FBA-8808-473C-A831-A866E489B1E4}" srcOrd="1" destOrd="0" presId="urn:microsoft.com/office/officeart/2008/layout/AlternatingHexagons"/>
    <dgm:cxn modelId="{DF7DD4A6-C9B9-4C10-85D1-A07D971691B1}" type="presParOf" srcId="{A51B822E-0E53-4AA0-B155-FE3F12337DA7}" destId="{1D6913D3-270E-4D70-A341-BC5C0128BAEB}" srcOrd="2" destOrd="0" presId="urn:microsoft.com/office/officeart/2008/layout/AlternatingHexagons"/>
    <dgm:cxn modelId="{5F616DB3-8CC7-4564-B2CB-C6BDB17FE02F}" type="presParOf" srcId="{A51B822E-0E53-4AA0-B155-FE3F12337DA7}" destId="{5BC90F96-CEF3-4049-BA59-558EFA6965B4}" srcOrd="3" destOrd="0" presId="urn:microsoft.com/office/officeart/2008/layout/AlternatingHexagons"/>
    <dgm:cxn modelId="{80BD84A2-B899-4D16-A5E7-6D1CBC077FCE}" type="presParOf" srcId="{A51B822E-0E53-4AA0-B155-FE3F12337DA7}" destId="{D60D68A5-08C1-4162-B3B1-63FC804ADE4F}" srcOrd="4" destOrd="0" presId="urn:microsoft.com/office/officeart/2008/layout/AlternatingHexagons"/>
    <dgm:cxn modelId="{0209C7FB-4C44-492F-A37E-642A3B4F4837}" type="presParOf" srcId="{11735EB3-E1C7-4746-B75D-68B7A44EC408}" destId="{BE5097C8-5066-4C10-A625-03F4F2382E86}" srcOrd="1" destOrd="0" presId="urn:microsoft.com/office/officeart/2008/layout/AlternatingHexagons"/>
    <dgm:cxn modelId="{314C0594-D7FB-4F03-884A-67B781598AF7}" type="presParOf" srcId="{11735EB3-E1C7-4746-B75D-68B7A44EC408}" destId="{0667049C-550B-412C-87D6-3ACABD2ACF8F}" srcOrd="2" destOrd="0" presId="urn:microsoft.com/office/officeart/2008/layout/AlternatingHexagons"/>
    <dgm:cxn modelId="{48ED989E-8C00-4067-8614-21E517DB5E63}" type="presParOf" srcId="{0667049C-550B-412C-87D6-3ACABD2ACF8F}" destId="{7947A114-9249-4E7C-8BC5-094FD0AF37E0}" srcOrd="0" destOrd="0" presId="urn:microsoft.com/office/officeart/2008/layout/AlternatingHexagons"/>
    <dgm:cxn modelId="{C5D37DEA-B9F0-4BFE-BB9C-105D4A8571BA}" type="presParOf" srcId="{0667049C-550B-412C-87D6-3ACABD2ACF8F}" destId="{ABB02FA1-A57C-4BEA-846B-6058353F2FC7}" srcOrd="1" destOrd="0" presId="urn:microsoft.com/office/officeart/2008/layout/AlternatingHexagons"/>
    <dgm:cxn modelId="{9DA070F1-F284-49B8-97A2-6B0C40B0B8B0}" type="presParOf" srcId="{0667049C-550B-412C-87D6-3ACABD2ACF8F}" destId="{E3A0B519-7C24-455B-81BA-949E881D1485}" srcOrd="2" destOrd="0" presId="urn:microsoft.com/office/officeart/2008/layout/AlternatingHexagons"/>
    <dgm:cxn modelId="{61ADD035-5FAA-4390-8E84-D456F599D6F0}" type="presParOf" srcId="{0667049C-550B-412C-87D6-3ACABD2ACF8F}" destId="{AB606163-8DC3-4A8C-8F7D-937F262E85CC}" srcOrd="3" destOrd="0" presId="urn:microsoft.com/office/officeart/2008/layout/AlternatingHexagons"/>
    <dgm:cxn modelId="{FCFB3628-2138-4F7D-AADB-66139133985B}" type="presParOf" srcId="{0667049C-550B-412C-87D6-3ACABD2ACF8F}" destId="{B0D8A393-0A98-463E-ACF3-353CE0AB1E11}" srcOrd="4" destOrd="0" presId="urn:microsoft.com/office/officeart/2008/layout/AlternatingHexagons"/>
    <dgm:cxn modelId="{6DDB9992-D19B-42DD-97A0-C218AC154E0F}" type="presParOf" srcId="{11735EB3-E1C7-4746-B75D-68B7A44EC408}" destId="{0A03C5D7-2CDC-4503-86DB-B08EDD45A72C}" srcOrd="3" destOrd="0" presId="urn:microsoft.com/office/officeart/2008/layout/AlternatingHexagons"/>
    <dgm:cxn modelId="{7810BCA3-2E6B-4691-A33A-8AB6D41F9677}" type="presParOf" srcId="{11735EB3-E1C7-4746-B75D-68B7A44EC408}" destId="{FB0D67B0-8F85-4CDE-AACF-0A3EAE1B22E4}" srcOrd="4" destOrd="0" presId="urn:microsoft.com/office/officeart/2008/layout/AlternatingHexagons"/>
    <dgm:cxn modelId="{B310F65A-7A3C-425C-B824-7391823861F5}" type="presParOf" srcId="{FB0D67B0-8F85-4CDE-AACF-0A3EAE1B22E4}" destId="{6F241685-8FCD-4DEE-A332-4FECA970FF18}" srcOrd="0" destOrd="0" presId="urn:microsoft.com/office/officeart/2008/layout/AlternatingHexagons"/>
    <dgm:cxn modelId="{43837B59-AC9F-4608-AB4B-36C175CCBB00}" type="presParOf" srcId="{FB0D67B0-8F85-4CDE-AACF-0A3EAE1B22E4}" destId="{AB0B6A03-9B14-43DD-8CA3-E686666D06EF}" srcOrd="1" destOrd="0" presId="urn:microsoft.com/office/officeart/2008/layout/AlternatingHexagons"/>
    <dgm:cxn modelId="{656F22DA-A44C-40CF-BA09-FC49495406A6}" type="presParOf" srcId="{FB0D67B0-8F85-4CDE-AACF-0A3EAE1B22E4}" destId="{B5398582-4221-4D4A-909F-F7E9BE99FD09}" srcOrd="2" destOrd="0" presId="urn:microsoft.com/office/officeart/2008/layout/AlternatingHexagons"/>
    <dgm:cxn modelId="{7DFE823B-9C82-49DD-B453-27C3D9E6732C}" type="presParOf" srcId="{FB0D67B0-8F85-4CDE-AACF-0A3EAE1B22E4}" destId="{90D3204E-DFA8-462A-8AF4-6726F9C8AEDF}" srcOrd="3" destOrd="0" presId="urn:microsoft.com/office/officeart/2008/layout/AlternatingHexagons"/>
    <dgm:cxn modelId="{9F9A9827-EB8A-422B-BE4B-91EEE4016B5F}" type="presParOf" srcId="{FB0D67B0-8F85-4CDE-AACF-0A3EAE1B22E4}" destId="{C3C357DA-C4FB-4944-B4A6-AE9216752DE0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475CC9-C89E-4A51-8749-52D7BA76F4CD}">
      <dsp:nvSpPr>
        <dsp:cNvPr id="0" name=""/>
        <dsp:cNvSpPr/>
      </dsp:nvSpPr>
      <dsp:spPr>
        <a:xfrm rot="5400000">
          <a:off x="2942671" y="117759"/>
          <a:ext cx="1780575" cy="1549100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 dirty="0"/>
            <a:t>Data </a:t>
          </a:r>
          <a:r>
            <a:rPr lang="cs-CZ" sz="1600" b="1" kern="1200" dirty="0" err="1"/>
            <a:t>Producers</a:t>
          </a:r>
          <a:endParaRPr lang="cs-CZ" sz="1600" b="1" kern="1200" dirty="0"/>
        </a:p>
      </dsp:txBody>
      <dsp:txXfrm rot="-5400000">
        <a:off x="3299809" y="279495"/>
        <a:ext cx="1066298" cy="1225629"/>
      </dsp:txXfrm>
    </dsp:sp>
    <dsp:sp modelId="{752D3FBA-8808-473C-A831-A866E489B1E4}">
      <dsp:nvSpPr>
        <dsp:cNvPr id="0" name=""/>
        <dsp:cNvSpPr/>
      </dsp:nvSpPr>
      <dsp:spPr>
        <a:xfrm>
          <a:off x="4654516" y="358137"/>
          <a:ext cx="1987121" cy="1068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Domain</a:t>
          </a:r>
          <a:r>
            <a:rPr lang="cs-CZ" sz="1000" b="1" kern="1200" dirty="0"/>
            <a:t> </a:t>
          </a:r>
          <a:r>
            <a:rPr lang="cs-CZ" sz="1000" b="1" kern="1200" dirty="0" err="1"/>
            <a:t>expertise</a:t>
          </a:r>
          <a:endParaRPr lang="cs-CZ" sz="1000" b="1" kern="1200" dirty="0"/>
        </a:p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Data </a:t>
          </a:r>
          <a:r>
            <a:rPr lang="cs-CZ" sz="1000" b="1" kern="1200" dirty="0" err="1"/>
            <a:t>ownership</a:t>
          </a:r>
          <a:r>
            <a:rPr lang="cs-CZ" sz="1000" b="1" kern="1200" dirty="0"/>
            <a:t> and </a:t>
          </a:r>
          <a:r>
            <a:rPr lang="cs-CZ" sz="1000" b="1" kern="1200" dirty="0" err="1"/>
            <a:t>governance</a:t>
          </a:r>
          <a:endParaRPr lang="cs-CZ" sz="1000" b="1" kern="1200" dirty="0"/>
        </a:p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Data </a:t>
          </a:r>
          <a:r>
            <a:rPr lang="cs-CZ" sz="1000" b="1" kern="1200" dirty="0" err="1"/>
            <a:t>Quality</a:t>
          </a:r>
          <a:endParaRPr lang="cs-CZ" sz="1000" b="1" kern="1200" dirty="0"/>
        </a:p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Metadata Management</a:t>
          </a:r>
        </a:p>
      </dsp:txBody>
      <dsp:txXfrm>
        <a:off x="4654516" y="358137"/>
        <a:ext cx="1987121" cy="1068345"/>
      </dsp:txXfrm>
    </dsp:sp>
    <dsp:sp modelId="{D60D68A5-08C1-4162-B3B1-63FC804ADE4F}">
      <dsp:nvSpPr>
        <dsp:cNvPr id="0" name=""/>
        <dsp:cNvSpPr/>
      </dsp:nvSpPr>
      <dsp:spPr>
        <a:xfrm rot="5400000">
          <a:off x="1269643" y="117759"/>
          <a:ext cx="1780575" cy="1549100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3600" b="1" kern="1200"/>
        </a:p>
      </dsp:txBody>
      <dsp:txXfrm rot="-5400000">
        <a:off x="1626781" y="279495"/>
        <a:ext cx="1066298" cy="1225629"/>
      </dsp:txXfrm>
    </dsp:sp>
    <dsp:sp modelId="{7947A114-9249-4E7C-8BC5-094FD0AF37E0}">
      <dsp:nvSpPr>
        <dsp:cNvPr id="0" name=""/>
        <dsp:cNvSpPr/>
      </dsp:nvSpPr>
      <dsp:spPr>
        <a:xfrm rot="5400000">
          <a:off x="2102952" y="1629111"/>
          <a:ext cx="1780575" cy="1549100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800" b="1" kern="1200" dirty="0"/>
            <a:t>Data </a:t>
          </a:r>
          <a:r>
            <a:rPr lang="cs-CZ" sz="2800" b="1" kern="1200" dirty="0" err="1"/>
            <a:t>Mesh</a:t>
          </a:r>
          <a:endParaRPr lang="cs-CZ" sz="2800" b="1" kern="1200" dirty="0"/>
        </a:p>
      </dsp:txBody>
      <dsp:txXfrm rot="-5400000">
        <a:off x="2460090" y="1790847"/>
        <a:ext cx="1066298" cy="1225629"/>
      </dsp:txXfrm>
    </dsp:sp>
    <dsp:sp modelId="{ABB02FA1-A57C-4BEA-846B-6058353F2FC7}">
      <dsp:nvSpPr>
        <dsp:cNvPr id="0" name=""/>
        <dsp:cNvSpPr/>
      </dsp:nvSpPr>
      <dsp:spPr>
        <a:xfrm>
          <a:off x="231567" y="1869489"/>
          <a:ext cx="1923021" cy="1068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Build </a:t>
          </a:r>
          <a:r>
            <a:rPr lang="cs-CZ" sz="1000" b="1" kern="1200" dirty="0" err="1"/>
            <a:t>security</a:t>
          </a:r>
          <a:r>
            <a:rPr lang="cs-CZ" sz="1000" b="1" kern="1200" dirty="0"/>
            <a:t> </a:t>
          </a:r>
          <a:r>
            <a:rPr lang="cs-CZ" sz="1000" b="1" kern="1200" dirty="0" err="1"/>
            <a:t>controls</a:t>
          </a:r>
          <a:endParaRPr lang="cs-CZ" sz="1000" b="1" kern="1200" dirty="0"/>
        </a:p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Build and run </a:t>
          </a:r>
          <a:r>
            <a:rPr lang="cs-CZ" sz="1000" b="1" kern="1200" dirty="0" err="1"/>
            <a:t>the</a:t>
          </a:r>
          <a:r>
            <a:rPr lang="cs-CZ" sz="1000" b="1" kern="1200" dirty="0"/>
            <a:t> </a:t>
          </a:r>
          <a:r>
            <a:rPr lang="cs-CZ" sz="1000" b="1" kern="1200" dirty="0" err="1"/>
            <a:t>platform</a:t>
          </a:r>
          <a:endParaRPr lang="cs-CZ" sz="1000" b="1" kern="1200" dirty="0"/>
        </a:p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Simplify</a:t>
          </a:r>
          <a:r>
            <a:rPr lang="cs-CZ" sz="1000" b="1" kern="1200" dirty="0"/>
            <a:t> on-</a:t>
          </a:r>
          <a:r>
            <a:rPr lang="cs-CZ" sz="1000" b="1" kern="1200" dirty="0" err="1"/>
            <a:t>boarding</a:t>
          </a:r>
          <a:endParaRPr lang="cs-CZ" sz="1000" b="1" kern="1200" dirty="0"/>
        </a:p>
        <a:p>
          <a:pPr marL="0" lvl="0" indent="0" algn="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Training</a:t>
          </a:r>
          <a:r>
            <a:rPr lang="cs-CZ" sz="1000" b="1" kern="1200" dirty="0"/>
            <a:t> and </a:t>
          </a:r>
          <a:r>
            <a:rPr lang="cs-CZ" sz="1000" b="1" kern="1200" dirty="0" err="1"/>
            <a:t>community</a:t>
          </a:r>
          <a:endParaRPr lang="cs-CZ" sz="1000" b="1" kern="1200" dirty="0"/>
        </a:p>
      </dsp:txBody>
      <dsp:txXfrm>
        <a:off x="231567" y="1869489"/>
        <a:ext cx="1923021" cy="1068345"/>
      </dsp:txXfrm>
    </dsp:sp>
    <dsp:sp modelId="{B0D8A393-0A98-463E-ACF3-353CE0AB1E11}">
      <dsp:nvSpPr>
        <dsp:cNvPr id="0" name=""/>
        <dsp:cNvSpPr/>
      </dsp:nvSpPr>
      <dsp:spPr>
        <a:xfrm rot="5400000">
          <a:off x="3775980" y="1629111"/>
          <a:ext cx="1780575" cy="1549100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3600" b="1" kern="1200"/>
        </a:p>
      </dsp:txBody>
      <dsp:txXfrm rot="-5400000">
        <a:off x="4133118" y="1790847"/>
        <a:ext cx="1066298" cy="1225629"/>
      </dsp:txXfrm>
    </dsp:sp>
    <dsp:sp modelId="{6F241685-8FCD-4DEE-A332-4FECA970FF18}">
      <dsp:nvSpPr>
        <dsp:cNvPr id="0" name=""/>
        <dsp:cNvSpPr/>
      </dsp:nvSpPr>
      <dsp:spPr>
        <a:xfrm rot="5400000">
          <a:off x="2942671" y="3140463"/>
          <a:ext cx="1780575" cy="1549100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 dirty="0"/>
            <a:t>Data </a:t>
          </a:r>
          <a:r>
            <a:rPr lang="cs-CZ" sz="1600" b="1" kern="1200" dirty="0" err="1"/>
            <a:t>Consumers</a:t>
          </a:r>
          <a:endParaRPr lang="cs-CZ" sz="1600" b="1" kern="1200" dirty="0"/>
        </a:p>
      </dsp:txBody>
      <dsp:txXfrm rot="-5400000">
        <a:off x="3299809" y="3302199"/>
        <a:ext cx="1066298" cy="1225629"/>
      </dsp:txXfrm>
    </dsp:sp>
    <dsp:sp modelId="{AB0B6A03-9B14-43DD-8CA3-E686666D06EF}">
      <dsp:nvSpPr>
        <dsp:cNvPr id="0" name=""/>
        <dsp:cNvSpPr/>
      </dsp:nvSpPr>
      <dsp:spPr>
        <a:xfrm>
          <a:off x="4654516" y="3380841"/>
          <a:ext cx="1987121" cy="1068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Execute</a:t>
          </a:r>
          <a:r>
            <a:rPr lang="cs-CZ" sz="1000" b="1" kern="1200" dirty="0"/>
            <a:t> business </a:t>
          </a:r>
          <a:r>
            <a:rPr lang="cs-CZ" sz="1000" b="1" kern="1200" dirty="0" err="1"/>
            <a:t>priorities</a:t>
          </a:r>
          <a:endParaRPr lang="cs-CZ" sz="1000" b="1" kern="1200" dirty="0"/>
        </a:p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Business </a:t>
          </a:r>
          <a:r>
            <a:rPr lang="cs-CZ" sz="1000" b="1" kern="1200" dirty="0" err="1"/>
            <a:t>analytics</a:t>
          </a:r>
          <a:r>
            <a:rPr lang="cs-CZ" sz="1000" b="1" kern="1200" dirty="0"/>
            <a:t> development</a:t>
          </a:r>
        </a:p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Data Discovery</a:t>
          </a:r>
        </a:p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Data </a:t>
          </a:r>
          <a:r>
            <a:rPr lang="cs-CZ" sz="1000" b="1" kern="1200" dirty="0" err="1"/>
            <a:t>Pipeline</a:t>
          </a:r>
          <a:r>
            <a:rPr lang="cs-CZ" sz="1000" b="1" kern="1200" dirty="0"/>
            <a:t> development</a:t>
          </a:r>
        </a:p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Creation</a:t>
          </a:r>
          <a:r>
            <a:rPr lang="cs-CZ" sz="1000" b="1" kern="1200" dirty="0"/>
            <a:t> </a:t>
          </a:r>
          <a:r>
            <a:rPr lang="cs-CZ" sz="1000" b="1" kern="1200" dirty="0" err="1"/>
            <a:t>of</a:t>
          </a:r>
          <a:r>
            <a:rPr lang="cs-CZ" sz="1000" b="1" kern="1200" dirty="0"/>
            <a:t> </a:t>
          </a:r>
          <a:r>
            <a:rPr lang="cs-CZ" sz="1000" b="1" kern="1200" dirty="0" err="1"/>
            <a:t>new</a:t>
          </a:r>
          <a:r>
            <a:rPr lang="cs-CZ" sz="1000" b="1" kern="1200" dirty="0"/>
            <a:t> </a:t>
          </a:r>
          <a:r>
            <a:rPr lang="cs-CZ" sz="1000" b="1" kern="1200" dirty="0" err="1"/>
            <a:t>insights</a:t>
          </a:r>
          <a:endParaRPr lang="cs-CZ" sz="1000" b="1" kern="1200" dirty="0"/>
        </a:p>
      </dsp:txBody>
      <dsp:txXfrm>
        <a:off x="4654516" y="3380841"/>
        <a:ext cx="1987121" cy="1068345"/>
      </dsp:txXfrm>
    </dsp:sp>
    <dsp:sp modelId="{C3C357DA-C4FB-4944-B4A6-AE9216752DE0}">
      <dsp:nvSpPr>
        <dsp:cNvPr id="0" name=""/>
        <dsp:cNvSpPr/>
      </dsp:nvSpPr>
      <dsp:spPr>
        <a:xfrm rot="5400000">
          <a:off x="1269643" y="3140463"/>
          <a:ext cx="1780575" cy="1549100"/>
        </a:xfrm>
        <a:prstGeom prst="hexagon">
          <a:avLst>
            <a:gd name="adj" fmla="val 25000"/>
            <a:gd name="vf" fmla="val 11547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3600" b="1" kern="1200"/>
        </a:p>
      </dsp:txBody>
      <dsp:txXfrm rot="-5400000">
        <a:off x="1626781" y="3302199"/>
        <a:ext cx="1066298" cy="12256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2"/>
          <p:cNvSpPr>
            <a:spLocks noGrp="1"/>
          </p:cNvSpPr>
          <p:nvPr>
            <p:ph type="dt" idx="1"/>
          </p:nvPr>
        </p:nvSpPr>
        <p:spPr>
          <a:xfrm>
            <a:off x="463976" y="9481684"/>
            <a:ext cx="1042731" cy="1847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1200"/>
            </a:lvl1pPr>
          </a:lstStyle>
          <a:p>
            <a:fld id="{1C02DC55-1434-4439-A37E-7B733B7960B3}" type="datetime1">
              <a:rPr lang="en-GB" smtClean="0"/>
              <a:t>24/11/2022</a:t>
            </a:fld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5435600" y="9497527"/>
            <a:ext cx="877623" cy="18472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r>
              <a:rPr lang="en-GB"/>
              <a:t>  </a:t>
            </a:r>
            <a:fld id="{F3DF5D5B-2C92-4195-97B9-89281C423DE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5902642" y="217938"/>
            <a:ext cx="410164" cy="673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529202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63976" y="9481684"/>
            <a:ext cx="1042731" cy="1847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1200"/>
            </a:lvl1pPr>
          </a:lstStyle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7513" y="1093788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63976" y="4632432"/>
            <a:ext cx="5849247" cy="459564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435600" y="9497527"/>
            <a:ext cx="877623" cy="18472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5902642" y="217938"/>
            <a:ext cx="410164" cy="673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49726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spcBef>
        <a:spcPts val="1200"/>
      </a:spcBef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Bef>
        <a:spcPts val="800"/>
      </a:spcBef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2" pos="292" userDrawn="1">
          <p15:clr>
            <a:srgbClr val="F26B43"/>
          </p15:clr>
        </p15:guide>
        <p15:guide id="3" pos="397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98982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0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820382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1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145811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2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152567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3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602640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+mj-lt"/>
              <a:buNone/>
            </a:pPr>
            <a:endParaRPr lang="en-US" b="0" i="0" dirty="0">
              <a:solidFill>
                <a:srgbClr val="112336"/>
              </a:solidFill>
              <a:effectLst/>
              <a:latin typeface="Cerebrisans"/>
            </a:endParaRPr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4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057938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+mj-lt"/>
              <a:buNone/>
            </a:pPr>
            <a:endParaRPr lang="en-US" b="0" i="0" dirty="0">
              <a:solidFill>
                <a:srgbClr val="112336"/>
              </a:solidFill>
              <a:effectLst/>
              <a:latin typeface="Cerebrisans"/>
            </a:endParaRPr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5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962254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0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6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811756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7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74388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745749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en-US" dirty="0"/>
            </a:br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9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31835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2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415715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noProof="0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20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75981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0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3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447565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cs-CZ" b="0" dirty="0">
              <a:solidFill>
                <a:srgbClr val="FF0000"/>
              </a:solidFill>
            </a:endParaRPr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4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069155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5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913850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6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032200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0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7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436617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168859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8B8EFE1-412D-4E64-AC07-039FC8C73C89}" type="datetime1">
              <a:rPr lang="en-GB" noProof="0" smtClean="0"/>
              <a:t>24/11/2022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9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48882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35.jpeg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3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66387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263" y="2321634"/>
            <a:ext cx="3993786" cy="2286326"/>
          </a:xfrm>
          <a:prstGeom prst="rect">
            <a:avLst/>
          </a:prstGeom>
          <a:solidFill>
            <a:srgbClr val="C81E82"/>
          </a:solidFill>
        </p:spPr>
        <p:txBody>
          <a:bodyPr lIns="396000" tIns="396000" rIns="396000" bIns="43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cs-CZ"/>
              <a:t>Presentation cover</a:t>
            </a:r>
            <a:br>
              <a:rPr lang="cs-CZ"/>
            </a:br>
            <a:r>
              <a:rPr lang="cs-CZ"/>
              <a:t>second line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971916" y="4027882"/>
            <a:ext cx="3168000" cy="153888"/>
          </a:xfrm>
          <a:prstGeom prst="rect">
            <a:avLst/>
          </a:prstGeom>
        </p:spPr>
        <p:txBody>
          <a:bodyPr anchor="b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967BA23E-210F-4928-A3FB-CC72E5F500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09853" y="0"/>
            <a:ext cx="3528392" cy="2716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637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04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6834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8" name="Objek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707904" y="2587124"/>
            <a:ext cx="4428380" cy="1208762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2800" b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/>
              <a:t>Title page first line</a:t>
            </a:r>
            <a:br>
              <a:rPr lang="cs-CZ"/>
            </a:br>
            <a:r>
              <a:rPr lang="cs-CZ"/>
              <a:t>second line</a:t>
            </a:r>
            <a:endParaRPr lang="en-GB" noProof="0"/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707904" y="3950423"/>
            <a:ext cx="4428380" cy="153888"/>
          </a:xfrm>
          <a:prstGeom prst="rect">
            <a:avLst/>
          </a:prstGeom>
        </p:spPr>
        <p:txBody>
          <a:bodyPr anchor="t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E71E3113-BDD1-4E56-8DCC-9AB21988D8D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13283" y="0"/>
            <a:ext cx="3530717" cy="27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7871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05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4699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8" name="Objek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707904" y="2587124"/>
            <a:ext cx="4428380" cy="1208762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2800" b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/>
              <a:t>Title page first line</a:t>
            </a:r>
            <a:br>
              <a:rPr lang="cs-CZ"/>
            </a:br>
            <a:r>
              <a:rPr lang="cs-CZ"/>
              <a:t>second line</a:t>
            </a:r>
            <a:endParaRPr lang="en-GB" noProof="0"/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707904" y="3950423"/>
            <a:ext cx="4428380" cy="153888"/>
          </a:xfrm>
          <a:prstGeom prst="rect">
            <a:avLst/>
          </a:prstGeom>
        </p:spPr>
        <p:txBody>
          <a:bodyPr anchor="t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2EBC0F00-38E6-4CA9-93C2-0C9291F580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7913"/>
          <a:stretch/>
        </p:blipFill>
        <p:spPr>
          <a:xfrm>
            <a:off x="6300000" y="0"/>
            <a:ext cx="1839037" cy="27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544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53A4CEC1-67F0-443A-BF82-85FB24348C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0599" y="1"/>
            <a:ext cx="1937645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4413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1F7F61D4-E4CE-4292-A71B-CC4DCC8D29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0599" y="1"/>
            <a:ext cx="1937645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0007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9BE03F34-B7CA-4FB2-A259-D692E9D783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00000" y="0"/>
            <a:ext cx="1936800" cy="149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918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 slide 0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2267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346" y="1923678"/>
            <a:ext cx="4964599" cy="664797"/>
          </a:xfrm>
          <a:prstGeom prst="rect">
            <a:avLst/>
          </a:prstGeom>
        </p:spPr>
        <p:txBody>
          <a:bodyPr anchor="b"/>
          <a:lstStyle>
            <a:lvl1pPr>
              <a:defRPr sz="4800" b="0" cap="all" spc="-100" baseline="0">
                <a:solidFill>
                  <a:srgbClr val="F59B00"/>
                </a:solidFill>
              </a:defRPr>
            </a:lvl1pPr>
          </a:lstStyle>
          <a:p>
            <a:r>
              <a:rPr lang="en-GB" noProof="0"/>
              <a:t>Separator</a:t>
            </a:r>
            <a:r>
              <a:rPr lang="cs-CZ" noProof="0"/>
              <a:t> </a:t>
            </a:r>
            <a:r>
              <a:rPr lang="en-GB" noProof="0"/>
              <a:t>slid</a:t>
            </a:r>
            <a:r>
              <a:rPr lang="cs-CZ" noProof="0"/>
              <a:t>E</a:t>
            </a:r>
            <a:endParaRPr lang="en-GB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9848" y="2571493"/>
            <a:ext cx="4963255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2800" b="0" cap="none" baseline="0" smtClean="0"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cs-CZ" noProof="0"/>
              <a:t>Second line</a:t>
            </a:r>
            <a:br>
              <a:rPr lang="cs-CZ" noProof="0"/>
            </a:br>
            <a:r>
              <a:rPr lang="cs-CZ" noProof="0"/>
              <a:t>third line</a:t>
            </a:r>
            <a:endParaRPr lang="en-GB" noProof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2EEB16F6-D7CF-4EFD-A724-73EB0A6532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00599" y="1"/>
            <a:ext cx="1937645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2675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 slide 0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788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346" y="1923678"/>
            <a:ext cx="4964599" cy="664797"/>
          </a:xfrm>
          <a:prstGeom prst="rect">
            <a:avLst/>
          </a:prstGeom>
        </p:spPr>
        <p:txBody>
          <a:bodyPr anchor="b"/>
          <a:lstStyle>
            <a:lvl1pPr>
              <a:defRPr sz="4800" b="0" cap="all" spc="-100" baseline="0">
                <a:solidFill>
                  <a:srgbClr val="64B42D"/>
                </a:solidFill>
              </a:defRPr>
            </a:lvl1pPr>
          </a:lstStyle>
          <a:p>
            <a:r>
              <a:rPr lang="en-GB" noProof="0"/>
              <a:t>Separator</a:t>
            </a:r>
            <a:r>
              <a:rPr lang="cs-CZ" noProof="0"/>
              <a:t> </a:t>
            </a:r>
            <a:r>
              <a:rPr lang="en-GB" noProof="0"/>
              <a:t>slid</a:t>
            </a:r>
            <a:r>
              <a:rPr lang="cs-CZ" noProof="0"/>
              <a:t>E</a:t>
            </a:r>
            <a:endParaRPr lang="en-GB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9848" y="2571493"/>
            <a:ext cx="4963255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2800" b="0" cap="none" baseline="0" smtClean="0"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cs-CZ" noProof="0"/>
              <a:t>Second line</a:t>
            </a:r>
            <a:br>
              <a:rPr lang="cs-CZ" noProof="0"/>
            </a:br>
            <a:r>
              <a:rPr lang="cs-CZ" noProof="0"/>
              <a:t>third line</a:t>
            </a:r>
            <a:endParaRPr lang="en-GB" noProof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8A435900-945E-47A9-BEEB-F71802B3470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00599" y="1"/>
            <a:ext cx="1937645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6508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 slide 0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5756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346" y="1923678"/>
            <a:ext cx="4964599" cy="664797"/>
          </a:xfrm>
          <a:prstGeom prst="rect">
            <a:avLst/>
          </a:prstGeom>
        </p:spPr>
        <p:txBody>
          <a:bodyPr anchor="b"/>
          <a:lstStyle>
            <a:lvl1pPr>
              <a:defRPr sz="4800" b="0" cap="all" spc="-1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parator</a:t>
            </a:r>
            <a:r>
              <a:rPr lang="cs-CZ" noProof="0"/>
              <a:t> </a:t>
            </a:r>
            <a:r>
              <a:rPr lang="en-GB" noProof="0"/>
              <a:t>slid</a:t>
            </a:r>
            <a:r>
              <a:rPr lang="cs-CZ" noProof="0"/>
              <a:t>E</a:t>
            </a:r>
            <a:endParaRPr lang="en-GB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9848" y="2571493"/>
            <a:ext cx="4963255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2800" b="0" cap="none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cs-CZ" noProof="0"/>
              <a:t>Second line</a:t>
            </a:r>
            <a:br>
              <a:rPr lang="cs-CZ" noProof="0"/>
            </a:br>
            <a:r>
              <a:rPr lang="cs-CZ" noProof="0"/>
              <a:t>third line</a:t>
            </a:r>
            <a:endParaRPr lang="en-GB" noProof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9ACC8FBE-02A6-4E71-9FDD-DEFE9347AB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00000" y="0"/>
            <a:ext cx="1936800" cy="149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3844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 slide 04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973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346" y="1923678"/>
            <a:ext cx="4964599" cy="664797"/>
          </a:xfrm>
          <a:prstGeom prst="rect">
            <a:avLst/>
          </a:prstGeom>
        </p:spPr>
        <p:txBody>
          <a:bodyPr anchor="b"/>
          <a:lstStyle>
            <a:lvl1pPr>
              <a:defRPr sz="4800" b="0" cap="all" spc="-1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parator</a:t>
            </a:r>
            <a:r>
              <a:rPr lang="cs-CZ" noProof="0"/>
              <a:t> </a:t>
            </a:r>
            <a:r>
              <a:rPr lang="en-GB" noProof="0"/>
              <a:t>slid</a:t>
            </a:r>
            <a:r>
              <a:rPr lang="cs-CZ" noProof="0"/>
              <a:t>E</a:t>
            </a:r>
            <a:endParaRPr lang="en-GB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9848" y="2571493"/>
            <a:ext cx="4963255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None/>
              <a:defRPr lang="de-DE" sz="2800" b="0" cap="none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lvl="0"/>
            <a:r>
              <a:rPr lang="cs-CZ" noProof="0"/>
              <a:t>Second line</a:t>
            </a:r>
            <a:br>
              <a:rPr lang="cs-CZ" noProof="0"/>
            </a:br>
            <a:r>
              <a:rPr lang="cs-CZ" noProof="0"/>
              <a:t>third line</a:t>
            </a:r>
            <a:endParaRPr lang="en-GB" noProof="0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8B0DFDDF-466C-4E8D-A943-C4B38B073D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8208"/>
          <a:stretch/>
        </p:blipFill>
        <p:spPr>
          <a:xfrm>
            <a:off x="7920000" y="0"/>
            <a:ext cx="1003103" cy="149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3769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tex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4045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  <a:prstGeom prst="rect">
            <a:avLst/>
          </a:prstGeo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75556" y="1468394"/>
            <a:ext cx="7321538" cy="29755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-180000">
              <a:buFont typeface="Arial" panose="020B0604020202020204" pitchFamily="34" charset="0"/>
              <a:buChar char="•"/>
              <a:defRPr/>
            </a:lvl2pPr>
            <a:lvl3pPr marL="360000" indent="-179388">
              <a:buFont typeface="Calibri" panose="020F0502020204030204" pitchFamily="34" charset="0"/>
              <a:buChar char="̶"/>
              <a:defRPr/>
            </a:lvl3pPr>
            <a:lvl4pPr marL="540000" indent="-180000">
              <a:spcBef>
                <a:spcPts val="200"/>
              </a:spcBef>
              <a:buFont typeface="Arial" panose="020B0604020202020204" pitchFamily="34" charset="0"/>
              <a:buChar char="•"/>
              <a:defRPr b="0"/>
            </a:lvl4pPr>
          </a:lstStyle>
          <a:p>
            <a:pPr lvl="0"/>
            <a:r>
              <a:rPr lang="cs-CZ" noProof="0"/>
              <a:t>Text title; text level:</a:t>
            </a:r>
          </a:p>
          <a:p>
            <a:pPr lvl="1"/>
            <a:r>
              <a:rPr lang="cs-CZ" noProof="0"/>
              <a:t>bullet, first level</a:t>
            </a:r>
          </a:p>
          <a:p>
            <a:pPr lvl="2"/>
            <a:r>
              <a:rPr lang="cs-CZ" noProof="0"/>
              <a:t>bullet, second level</a:t>
            </a:r>
          </a:p>
          <a:p>
            <a:pPr lvl="3"/>
            <a:r>
              <a:rPr lang="cs-CZ" noProof="0"/>
              <a:t>bullet, third level</a:t>
            </a:r>
            <a:endParaRPr lang="en-GB" noProof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7F44C92-595F-45E2-B0D7-28B75B42D5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556" y="454718"/>
            <a:ext cx="7321538" cy="72019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/>
              <a:t>Heading first line</a:t>
            </a:r>
            <a:br>
              <a:rPr lang="cs-CZ"/>
            </a:br>
            <a:r>
              <a:rPr lang="cs-CZ"/>
              <a:t>Subheading second line</a:t>
            </a:r>
            <a:endParaRPr lang="en-GB" noProof="0"/>
          </a:p>
        </p:txBody>
      </p:sp>
      <p:pic>
        <p:nvPicPr>
          <p:cNvPr id="7" name="Grafický objekt 6">
            <a:extLst>
              <a:ext uri="{FF2B5EF4-FFF2-40B4-BE49-F238E27FC236}">
                <a16:creationId xmlns:a16="http://schemas.microsoft.com/office/drawing/2014/main" id="{AC5A11F7-2C76-4D1E-A18F-2A272E4E72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933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0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1778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263" y="2321634"/>
            <a:ext cx="3993786" cy="2286326"/>
          </a:xfrm>
          <a:prstGeom prst="rect">
            <a:avLst/>
          </a:prstGeom>
          <a:solidFill>
            <a:srgbClr val="E60055"/>
          </a:solidFill>
        </p:spPr>
        <p:txBody>
          <a:bodyPr lIns="396000" tIns="396000" rIns="396000" bIns="43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cs-CZ"/>
              <a:t>Presentation cover</a:t>
            </a:r>
            <a:br>
              <a:rPr lang="cs-CZ"/>
            </a:br>
            <a:r>
              <a:rPr lang="cs-CZ"/>
              <a:t>second line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971916" y="4027882"/>
            <a:ext cx="3168000" cy="153888"/>
          </a:xfrm>
          <a:prstGeom prst="rect">
            <a:avLst/>
          </a:prstGeom>
        </p:spPr>
        <p:txBody>
          <a:bodyPr anchor="b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F20DA40A-B47E-4FF2-966A-DEB8608604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7945"/>
          <a:stretch/>
        </p:blipFill>
        <p:spPr>
          <a:xfrm>
            <a:off x="6300192" y="0"/>
            <a:ext cx="1836712" cy="2716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3612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object and tex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3620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  <a:prstGeom prst="rect">
            <a:avLst/>
          </a:prstGeo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2" name="Textplatzhalter 2"/>
          <p:cNvSpPr>
            <a:spLocks noGrp="1"/>
          </p:cNvSpPr>
          <p:nvPr>
            <p:ph idx="13" hasCustomPrompt="1"/>
          </p:nvPr>
        </p:nvSpPr>
        <p:spPr bwMode="gray">
          <a:xfrm>
            <a:off x="575556" y="4443958"/>
            <a:ext cx="356552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cs-CZ"/>
              <a:t>Optional caption</a:t>
            </a:r>
            <a:endParaRPr lang="en-GB" noProof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11D54EE9-CB69-4B32-9EB3-4B19B82D3A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556" y="454718"/>
            <a:ext cx="7321538" cy="72019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/>
              <a:t>Heading first line</a:t>
            </a:r>
            <a:br>
              <a:rPr lang="cs-CZ"/>
            </a:br>
            <a:r>
              <a:rPr lang="cs-CZ"/>
              <a:t>Subheading second line</a:t>
            </a:r>
            <a:endParaRPr lang="en-GB" noProof="0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8FDC897C-B225-4CD5-ADED-6156082449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156" y="1468394"/>
            <a:ext cx="3563938" cy="29755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-180000">
              <a:buFont typeface="Arial" panose="020B0604020202020204" pitchFamily="34" charset="0"/>
              <a:buChar char="•"/>
              <a:defRPr/>
            </a:lvl2pPr>
            <a:lvl3pPr marL="360000" indent="-179388">
              <a:buFont typeface="Calibri" panose="020F0502020204030204" pitchFamily="34" charset="0"/>
              <a:buChar char="̶"/>
              <a:defRPr/>
            </a:lvl3pPr>
            <a:lvl4pPr marL="540000" indent="-180000">
              <a:spcBef>
                <a:spcPts val="200"/>
              </a:spcBef>
              <a:buFont typeface="Arial" panose="020B0604020202020204" pitchFamily="34" charset="0"/>
              <a:buChar char="•"/>
              <a:defRPr b="0"/>
            </a:lvl4pPr>
          </a:lstStyle>
          <a:p>
            <a:pPr lvl="0"/>
            <a:r>
              <a:rPr lang="cs-CZ" noProof="0"/>
              <a:t>Text title; text level:</a:t>
            </a:r>
          </a:p>
          <a:p>
            <a:pPr lvl="1"/>
            <a:r>
              <a:rPr lang="cs-CZ" noProof="0"/>
              <a:t>bullet, first level</a:t>
            </a:r>
          </a:p>
          <a:p>
            <a:pPr lvl="2"/>
            <a:r>
              <a:rPr lang="cs-CZ" noProof="0"/>
              <a:t>bullet, second level</a:t>
            </a:r>
          </a:p>
          <a:p>
            <a:pPr lvl="3"/>
            <a:r>
              <a:rPr lang="cs-CZ" noProof="0"/>
              <a:t>bullet, third level</a:t>
            </a:r>
            <a:endParaRPr lang="en-GB" noProof="0"/>
          </a:p>
        </p:txBody>
      </p:sp>
      <p:sp>
        <p:nvSpPr>
          <p:cNvPr id="18" name="Zástupný obsah 4">
            <a:extLst>
              <a:ext uri="{FF2B5EF4-FFF2-40B4-BE49-F238E27FC236}">
                <a16:creationId xmlns:a16="http://schemas.microsoft.com/office/drawing/2014/main" id="{9FA7CCA1-2B1D-4836-B456-CA3F56E0380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75556" y="1519117"/>
            <a:ext cx="3563938" cy="2810422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cs-CZ"/>
              <a:t>Object</a:t>
            </a:r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FDD6463F-F1E6-470C-8159-F238309A79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3290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2/3 object and 1/3 tex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951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  <a:prstGeom prst="rect">
            <a:avLst/>
          </a:prstGeo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6DF9C65D-8541-40FA-A52A-2233F3FA23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556" y="454718"/>
            <a:ext cx="7321538" cy="72019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/>
              <a:t>Heading first line</a:t>
            </a:r>
            <a:br>
              <a:rPr lang="cs-CZ"/>
            </a:br>
            <a:r>
              <a:rPr lang="cs-CZ"/>
              <a:t>Subheading second line</a:t>
            </a:r>
            <a:endParaRPr lang="en-GB" noProof="0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F5EA0E38-FBC2-4302-8280-648104DFD7E1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575556" y="4443958"/>
            <a:ext cx="356552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cs-CZ"/>
              <a:t>Optional caption</a:t>
            </a:r>
            <a:endParaRPr lang="en-GB" noProof="0"/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DC23DBAB-09DC-45D6-B185-E53BD931D5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48064" y="1468394"/>
            <a:ext cx="2749030" cy="29755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-180000">
              <a:buFont typeface="Arial" panose="020B0604020202020204" pitchFamily="34" charset="0"/>
              <a:buChar char="•"/>
              <a:defRPr/>
            </a:lvl2pPr>
            <a:lvl3pPr marL="360000" indent="-179388">
              <a:buFont typeface="Calibri" panose="020F0502020204030204" pitchFamily="34" charset="0"/>
              <a:buChar char="̶"/>
              <a:defRPr/>
            </a:lvl3pPr>
            <a:lvl4pPr marL="540000" indent="-180000">
              <a:spcBef>
                <a:spcPts val="200"/>
              </a:spcBef>
              <a:buFont typeface="Arial" panose="020B0604020202020204" pitchFamily="34" charset="0"/>
              <a:buChar char="•"/>
              <a:defRPr b="0"/>
            </a:lvl4pPr>
          </a:lstStyle>
          <a:p>
            <a:pPr lvl="0"/>
            <a:r>
              <a:rPr lang="cs-CZ" noProof="0"/>
              <a:t>Text title; text level:</a:t>
            </a:r>
          </a:p>
          <a:p>
            <a:pPr lvl="1"/>
            <a:r>
              <a:rPr lang="cs-CZ" noProof="0"/>
              <a:t>bullet, first level</a:t>
            </a:r>
          </a:p>
          <a:p>
            <a:pPr lvl="2"/>
            <a:r>
              <a:rPr lang="cs-CZ" noProof="0"/>
              <a:t>bullet, second level</a:t>
            </a:r>
          </a:p>
          <a:p>
            <a:pPr lvl="3"/>
            <a:r>
              <a:rPr lang="cs-CZ" noProof="0"/>
              <a:t>bullet, third level</a:t>
            </a:r>
            <a:endParaRPr lang="en-GB" noProof="0"/>
          </a:p>
        </p:txBody>
      </p:sp>
      <p:sp>
        <p:nvSpPr>
          <p:cNvPr id="20" name="Zástupný obsah 4">
            <a:extLst>
              <a:ext uri="{FF2B5EF4-FFF2-40B4-BE49-F238E27FC236}">
                <a16:creationId xmlns:a16="http://schemas.microsoft.com/office/drawing/2014/main" id="{39EA3161-C45C-46DB-B55B-C0F8895F088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75556" y="1519117"/>
            <a:ext cx="4356484" cy="2810422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cs-CZ"/>
              <a:t>Object</a:t>
            </a:r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C7690066-FA47-477F-B9AF-020CEC7CD2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3244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objec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5644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  <a:prstGeom prst="rect">
            <a:avLst/>
          </a:prstGeo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E35F77FC-B5A3-4FE8-8571-83A533C1BD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556" y="454718"/>
            <a:ext cx="7321538" cy="72019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/>
              <a:t>Heading first line</a:t>
            </a:r>
            <a:br>
              <a:rPr lang="cs-CZ"/>
            </a:br>
            <a:r>
              <a:rPr lang="cs-CZ"/>
              <a:t>Subheading second line</a:t>
            </a:r>
            <a:endParaRPr lang="en-GB" noProof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9112BB3A-67F4-47A6-9554-7DB2E7198EA0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575556" y="4443958"/>
            <a:ext cx="356552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cs-CZ"/>
              <a:t>Optional caption</a:t>
            </a:r>
            <a:endParaRPr lang="en-GB" noProof="0"/>
          </a:p>
        </p:txBody>
      </p:sp>
      <p:sp>
        <p:nvSpPr>
          <p:cNvPr id="18" name="Zástupný obsah 4">
            <a:extLst>
              <a:ext uri="{FF2B5EF4-FFF2-40B4-BE49-F238E27FC236}">
                <a16:creationId xmlns:a16="http://schemas.microsoft.com/office/drawing/2014/main" id="{CF4C4B6F-01A2-40EE-B899-17DCFDFC78E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75556" y="1519117"/>
            <a:ext cx="7321538" cy="2810422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cs-CZ"/>
              <a:t>Object</a:t>
            </a: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5F653AF8-E342-491E-880B-15F9838542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1096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char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656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  <a:prstGeom prst="rect">
            <a:avLst/>
          </a:prstGeo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E35F77FC-B5A3-4FE8-8571-83A533C1BD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556" y="454718"/>
            <a:ext cx="7321538" cy="72019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/>
              <a:t>Heading first line</a:t>
            </a:r>
            <a:br>
              <a:rPr lang="cs-CZ"/>
            </a:br>
            <a:r>
              <a:rPr lang="cs-CZ"/>
              <a:t>Subheading second line</a:t>
            </a:r>
            <a:endParaRPr lang="en-GB" noProof="0"/>
          </a:p>
        </p:txBody>
      </p:sp>
      <p:sp>
        <p:nvSpPr>
          <p:cNvPr id="18" name="Zástupný obsah 4">
            <a:extLst>
              <a:ext uri="{FF2B5EF4-FFF2-40B4-BE49-F238E27FC236}">
                <a16:creationId xmlns:a16="http://schemas.microsoft.com/office/drawing/2014/main" id="{CF4C4B6F-01A2-40EE-B899-17DCFDFC78E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75556" y="1923677"/>
            <a:ext cx="7321538" cy="25922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cs-CZ"/>
              <a:t>Object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B3117C1-C18B-433B-94E1-9EAD36CB5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556" y="1480700"/>
            <a:ext cx="7321538" cy="431800"/>
          </a:xfrm>
        </p:spPr>
        <p:txBody>
          <a:bodyPr/>
          <a:lstStyle>
            <a:lvl1pPr marL="0" indent="0">
              <a:buNone/>
              <a:defRPr b="1"/>
            </a:lvl1pPr>
            <a:lvl2pPr marL="0" indent="0">
              <a:spcBef>
                <a:spcPts val="0"/>
              </a:spcBef>
              <a:buNone/>
              <a:defRPr sz="1400"/>
            </a:lvl2pPr>
          </a:lstStyle>
          <a:p>
            <a:pPr lvl="0"/>
            <a:r>
              <a:rPr lang="cs-CZ"/>
              <a:t>Chart title</a:t>
            </a:r>
          </a:p>
          <a:p>
            <a:pPr lvl="1"/>
            <a:r>
              <a:rPr lang="cs-CZ"/>
              <a:t>Unit values</a:t>
            </a: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24ABE178-FB35-493F-B346-7F85EC7E10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8125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two object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2661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  <a:prstGeom prst="rect">
            <a:avLst/>
          </a:prstGeo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FED2B8E7-53C6-4B70-8AE7-E0E58B877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556" y="454718"/>
            <a:ext cx="7321538" cy="72019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/>
              <a:t>Heading first line</a:t>
            </a:r>
            <a:br>
              <a:rPr lang="cs-CZ"/>
            </a:br>
            <a:r>
              <a:rPr lang="cs-CZ"/>
              <a:t>Subheading second line</a:t>
            </a:r>
            <a:endParaRPr lang="en-GB" noProof="0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B3F7363-70B4-4D19-AE53-30707BF16556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575556" y="4443958"/>
            <a:ext cx="356552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cs-CZ"/>
              <a:t>Optional caption</a:t>
            </a:r>
            <a:endParaRPr lang="en-GB" noProof="0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9B67DECC-3237-486F-9B88-1E8A166B4B49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4347301" y="4443958"/>
            <a:ext cx="356552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cs-CZ"/>
              <a:t>Optional caption</a:t>
            </a:r>
            <a:endParaRPr lang="en-GB" noProof="0"/>
          </a:p>
        </p:txBody>
      </p:sp>
      <p:sp>
        <p:nvSpPr>
          <p:cNvPr id="22" name="Zástupný obsah 4">
            <a:extLst>
              <a:ext uri="{FF2B5EF4-FFF2-40B4-BE49-F238E27FC236}">
                <a16:creationId xmlns:a16="http://schemas.microsoft.com/office/drawing/2014/main" id="{7735CB0D-63FC-48D4-9890-600BDE9C1AC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75556" y="1519117"/>
            <a:ext cx="3565525" cy="2810422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cs-CZ"/>
              <a:t>Object</a:t>
            </a:r>
          </a:p>
        </p:txBody>
      </p:sp>
      <p:sp>
        <p:nvSpPr>
          <p:cNvPr id="23" name="Zástupný obsah 4">
            <a:extLst>
              <a:ext uri="{FF2B5EF4-FFF2-40B4-BE49-F238E27FC236}">
                <a16:creationId xmlns:a16="http://schemas.microsoft.com/office/drawing/2014/main" id="{49C7E0C6-972A-4069-88F1-1CC642C0580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47301" y="1519117"/>
            <a:ext cx="3565525" cy="2810422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cs-CZ"/>
              <a:t>Object</a:t>
            </a:r>
          </a:p>
        </p:txBody>
      </p:sp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53D54980-9962-444A-A926-7C9406DA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836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8651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  <a:prstGeom prst="rect">
            <a:avLst/>
          </a:prstGeo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75556" y="1491630"/>
            <a:ext cx="4608000" cy="1305688"/>
          </a:xfrm>
          <a:prstGeom prst="rect">
            <a:avLst/>
          </a:prstGeom>
          <a:solidFill>
            <a:srgbClr val="00875A"/>
          </a:solidFill>
        </p:spPr>
        <p:txBody>
          <a:bodyPr lIns="216000" tIns="201600" rIns="180000" bIns="230400"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Citation text first line</a:t>
            </a:r>
          </a:p>
          <a:p>
            <a:pPr lvl="0"/>
            <a:r>
              <a:rPr lang="cs-CZ" noProof="0"/>
              <a:t>second line</a:t>
            </a:r>
            <a:br>
              <a:rPr lang="cs-CZ" noProof="0"/>
            </a:br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0C4D8A43-5B88-4E1A-87C4-35B98EACB6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556" y="454718"/>
            <a:ext cx="7321538" cy="72019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/>
              <a:t>Heading first line</a:t>
            </a:r>
            <a:br>
              <a:rPr lang="cs-CZ"/>
            </a:br>
            <a:r>
              <a:rPr lang="cs-CZ"/>
              <a:t>Subheading second line</a:t>
            </a:r>
            <a:endParaRPr lang="en-GB" noProof="0"/>
          </a:p>
        </p:txBody>
      </p:sp>
      <p:pic>
        <p:nvPicPr>
          <p:cNvPr id="7" name="Grafický objekt 6">
            <a:extLst>
              <a:ext uri="{FF2B5EF4-FFF2-40B4-BE49-F238E27FC236}">
                <a16:creationId xmlns:a16="http://schemas.microsoft.com/office/drawing/2014/main" id="{02C81566-87E8-44B5-9D09-8AF3C8CA7A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0963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0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061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  <a:prstGeom prst="rect">
            <a:avLst/>
          </a:prstGeo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257117" y="872366"/>
            <a:ext cx="2880000" cy="1440000"/>
          </a:xfrm>
          <a:prstGeom prst="rect">
            <a:avLst/>
          </a:prstGeom>
          <a:solidFill>
            <a:srgbClr val="F59B00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49D4EDF6-6BA3-4521-829D-A0575CAF00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759F9CA4-EA00-413D-A8DD-FB5E8DF6C4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7984" y="1356379"/>
            <a:ext cx="2880000" cy="1440000"/>
          </a:xfrm>
          <a:prstGeom prst="rect">
            <a:avLst/>
          </a:prstGeom>
          <a:solidFill>
            <a:srgbClr val="EB4B0A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EC6BADB-9332-43E6-A271-05ADE8F271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7983" y="3073722"/>
            <a:ext cx="3492695" cy="1440000"/>
          </a:xfrm>
          <a:prstGeom prst="rect">
            <a:avLst/>
          </a:prstGeom>
          <a:solidFill>
            <a:srgbClr val="64B42D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36A1B82A-0934-4DC1-9E33-0BEF2CA46F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730" y="2577708"/>
            <a:ext cx="3492695" cy="1440000"/>
          </a:xfrm>
          <a:prstGeom prst="rect">
            <a:avLst/>
          </a:prstGeom>
          <a:solidFill>
            <a:srgbClr val="009BA5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784467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0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6726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5F51B1-EF07-4A0A-8ED6-43388CBBB3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84F6CB97-0CCC-4DED-A463-4B2AC3E843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8208"/>
          <a:stretch/>
        </p:blipFill>
        <p:spPr>
          <a:xfrm>
            <a:off x="7920000" y="0"/>
            <a:ext cx="1003103" cy="1490978"/>
          </a:xfrm>
          <a:prstGeom prst="rect">
            <a:avLst/>
          </a:prstGeom>
        </p:spPr>
      </p:pic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73EAE921-76BF-4441-A2D9-D0422EBDECF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57117" y="872366"/>
            <a:ext cx="2880000" cy="1440000"/>
          </a:xfrm>
          <a:prstGeom prst="rect">
            <a:avLst/>
          </a:prstGeom>
          <a:solidFill>
            <a:srgbClr val="F59B00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6875AAC-8067-4446-9B4A-F2A460FE4D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7984" y="1356379"/>
            <a:ext cx="2880000" cy="1440000"/>
          </a:xfrm>
          <a:prstGeom prst="rect">
            <a:avLst/>
          </a:prstGeom>
          <a:solidFill>
            <a:srgbClr val="EB4B0A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92ABF4D6-86D8-46DF-8838-57C0F425F7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7983" y="3073722"/>
            <a:ext cx="3492695" cy="1440000"/>
          </a:xfrm>
          <a:prstGeom prst="rect">
            <a:avLst/>
          </a:prstGeom>
          <a:solidFill>
            <a:srgbClr val="A50032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5F1A9991-BB9A-4C4D-ABB3-B59B8660FD1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730" y="2577708"/>
            <a:ext cx="3492695" cy="1440000"/>
          </a:xfrm>
          <a:prstGeom prst="rect">
            <a:avLst/>
          </a:prstGeom>
          <a:solidFill>
            <a:srgbClr val="009BA5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984046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0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479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5F51B1-EF07-4A0A-8ED6-43388CBBB3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9927A7D1-C9A4-4F00-BEC3-7505788C40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8208"/>
          <a:stretch/>
        </p:blipFill>
        <p:spPr>
          <a:xfrm>
            <a:off x="7920000" y="0"/>
            <a:ext cx="1003103" cy="1490978"/>
          </a:xfrm>
          <a:prstGeom prst="rect">
            <a:avLst/>
          </a:prstGeom>
        </p:spPr>
      </p:pic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BCE01AF6-3B23-4B20-B93A-9EA2A6B393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57117" y="872366"/>
            <a:ext cx="2880000" cy="1440000"/>
          </a:xfrm>
          <a:prstGeom prst="rect">
            <a:avLst/>
          </a:prstGeom>
          <a:solidFill>
            <a:srgbClr val="F59B00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8C1B1A71-5C26-458A-901D-5B1ABBDEFE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7984" y="1356379"/>
            <a:ext cx="2880000" cy="1440000"/>
          </a:xfrm>
          <a:prstGeom prst="rect">
            <a:avLst/>
          </a:prstGeom>
          <a:solidFill>
            <a:srgbClr val="00AAE1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F77CE969-793F-4F9C-8EB0-4DAF9AE7D9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7983" y="3073722"/>
            <a:ext cx="3492695" cy="1440000"/>
          </a:xfrm>
          <a:prstGeom prst="rect">
            <a:avLst/>
          </a:prstGeom>
          <a:solidFill>
            <a:srgbClr val="64B42D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E5846613-7D4B-4A98-82DC-39B0B7F3DD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730" y="2577708"/>
            <a:ext cx="3492695" cy="1440000"/>
          </a:xfrm>
          <a:prstGeom prst="rect">
            <a:avLst/>
          </a:prstGeom>
          <a:solidFill>
            <a:srgbClr val="009BA5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573514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04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4935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5F51B1-EF07-4A0A-8ED6-43388CBBB34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6350C300-5328-4983-8E68-5C47C76771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8208"/>
          <a:stretch/>
        </p:blipFill>
        <p:spPr>
          <a:xfrm>
            <a:off x="7920000" y="0"/>
            <a:ext cx="1003103" cy="1490978"/>
          </a:xfrm>
          <a:prstGeom prst="rect">
            <a:avLst/>
          </a:prstGeom>
        </p:spPr>
      </p:pic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80BA2E3E-030A-4E82-B3CD-BBA76FBC80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57117" y="872366"/>
            <a:ext cx="2880000" cy="1440000"/>
          </a:xfrm>
          <a:prstGeom prst="rect">
            <a:avLst/>
          </a:prstGeom>
          <a:solidFill>
            <a:srgbClr val="F59B00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999344B9-B4C6-4D21-83E2-935C9B779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7984" y="1356379"/>
            <a:ext cx="2880000" cy="1440000"/>
          </a:xfrm>
          <a:prstGeom prst="rect">
            <a:avLst/>
          </a:prstGeom>
          <a:solidFill>
            <a:srgbClr val="EB4B0A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4EDD7562-530B-42D5-ACB5-1868440177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7983" y="3073722"/>
            <a:ext cx="3492695" cy="1440000"/>
          </a:xfrm>
          <a:prstGeom prst="rect">
            <a:avLst/>
          </a:prstGeom>
          <a:solidFill>
            <a:srgbClr val="64B42D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A3228F84-F808-4957-8405-C7DDCD82C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730" y="2577708"/>
            <a:ext cx="3492695" cy="1440000"/>
          </a:xfrm>
          <a:prstGeom prst="rect">
            <a:avLst/>
          </a:prstGeom>
          <a:solidFill>
            <a:srgbClr val="780A5F"/>
          </a:solidFill>
        </p:spPr>
        <p:txBody>
          <a:bodyPr lIns="216000" tIns="201600" rIns="180000" bIns="230400">
            <a:noAutofit/>
          </a:bodyPr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cs-CZ" noProof="0"/>
              <a:t>Summary, chapter</a:t>
            </a:r>
          </a:p>
          <a:p>
            <a:pPr lvl="1"/>
            <a:r>
              <a:rPr lang="cs-CZ" noProof="0"/>
              <a:t>first line</a:t>
            </a:r>
          </a:p>
          <a:p>
            <a:pPr lvl="1"/>
            <a:r>
              <a:rPr lang="cs-CZ" noProof="0"/>
              <a:t>second line</a:t>
            </a:r>
          </a:p>
          <a:p>
            <a:pPr lvl="1"/>
            <a:r>
              <a:rPr lang="cs-CZ" noProof="0"/>
              <a:t>third lin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088452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0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612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263" y="2321634"/>
            <a:ext cx="3993786" cy="2286326"/>
          </a:xfrm>
          <a:prstGeom prst="rect">
            <a:avLst/>
          </a:prstGeom>
          <a:solidFill>
            <a:srgbClr val="F59B00"/>
          </a:solidFill>
        </p:spPr>
        <p:txBody>
          <a:bodyPr lIns="396000" tIns="396000" rIns="396000" bIns="43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cs-CZ"/>
              <a:t>Presentation cover</a:t>
            </a:r>
            <a:br>
              <a:rPr lang="cs-CZ"/>
            </a:br>
            <a:r>
              <a:rPr lang="cs-CZ"/>
              <a:t>second line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971916" y="4027882"/>
            <a:ext cx="3168000" cy="153888"/>
          </a:xfrm>
          <a:prstGeom prst="rect">
            <a:avLst/>
          </a:prstGeom>
        </p:spPr>
        <p:txBody>
          <a:bodyPr anchor="b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10AC64C4-51F5-491B-B71E-EFD09D355E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7945"/>
          <a:stretch/>
        </p:blipFill>
        <p:spPr>
          <a:xfrm>
            <a:off x="6300192" y="0"/>
            <a:ext cx="1836712" cy="2716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6389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 0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0106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0938" y="1080000"/>
            <a:ext cx="6842125" cy="11910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de-DE" sz="8500" b="0" cap="all" spc="300" baseline="0" dirty="0">
                <a:solidFill>
                  <a:srgbClr val="E60055"/>
                </a:solidFill>
              </a:defRPr>
            </a:lvl1pPr>
          </a:lstStyle>
          <a:p>
            <a:pPr lvl="0" algn="ctr"/>
            <a:r>
              <a:rPr lang="en-GB" noProof="0"/>
              <a:t>keyword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259A6390-2A0C-48EA-BC6A-B760C3BFD3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1706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 0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6579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0938" y="1080000"/>
            <a:ext cx="6842125" cy="11910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de-DE" sz="8500" b="0" cap="all" spc="300" baseline="0" dirty="0">
                <a:solidFill>
                  <a:srgbClr val="005F69"/>
                </a:solidFill>
              </a:defRPr>
            </a:lvl1pPr>
          </a:lstStyle>
          <a:p>
            <a:pPr lvl="0" algn="ctr"/>
            <a:r>
              <a:rPr lang="en-GB" noProof="0"/>
              <a:t>keyword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3A5CC9A5-E389-4E23-8662-3313969BA67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00599" y="1"/>
            <a:ext cx="1937645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3284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 0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958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0938" y="1080000"/>
            <a:ext cx="6842125" cy="11910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de-DE" sz="8500" b="0" cap="all" spc="300" baseline="0" dirty="0">
                <a:solidFill>
                  <a:srgbClr val="E60055"/>
                </a:solidFill>
              </a:defRPr>
            </a:lvl1pPr>
          </a:lstStyle>
          <a:p>
            <a:pPr lvl="0" algn="ctr"/>
            <a:r>
              <a:rPr lang="en-GB" noProof="0"/>
              <a:t>keyword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1C482CFF-790D-4B29-A90F-9A0CE4A56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1430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 04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4797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0938" y="1080000"/>
            <a:ext cx="6842125" cy="11910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de-DE" sz="8500" b="0" cap="all" spc="300" baseline="0" dirty="0">
                <a:solidFill>
                  <a:srgbClr val="3C3732"/>
                </a:solidFill>
              </a:defRPr>
            </a:lvl1pPr>
          </a:lstStyle>
          <a:p>
            <a:pPr lvl="0" algn="ctr"/>
            <a:r>
              <a:rPr lang="en-GB" noProof="0"/>
              <a:t>keyword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53A4C281-5157-4603-8341-825459E154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4438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 05">
    <p:bg>
      <p:bgPr>
        <a:solidFill>
          <a:srgbClr val="0087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6720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0938" y="1080000"/>
            <a:ext cx="6842125" cy="1191095"/>
          </a:xfrm>
          <a:prstGeom prst="rect">
            <a:avLst/>
          </a:prstGeom>
        </p:spPr>
        <p:txBody>
          <a:bodyPr/>
          <a:lstStyle>
            <a:lvl1pPr algn="ctr">
              <a:defRPr sz="8600" b="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keyword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A4640866-26C6-4E0F-B9AA-6B2FD0E210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00000" y="0"/>
            <a:ext cx="1936800" cy="149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3243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 06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325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0938" y="1080000"/>
            <a:ext cx="6842125" cy="1191095"/>
          </a:xfrm>
          <a:prstGeom prst="rect">
            <a:avLst/>
          </a:prstGeom>
        </p:spPr>
        <p:txBody>
          <a:bodyPr/>
          <a:lstStyle>
            <a:lvl1pPr algn="ctr">
              <a:defRPr sz="8600" b="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keyword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D0BF5F88-38CD-4296-97F4-088B9A7A59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8208"/>
          <a:stretch/>
        </p:blipFill>
        <p:spPr>
          <a:xfrm>
            <a:off x="7920000" y="0"/>
            <a:ext cx="1003103" cy="149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7798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 07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68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0938" y="1080000"/>
            <a:ext cx="6842125" cy="1191095"/>
          </a:xfrm>
          <a:prstGeom prst="rect">
            <a:avLst/>
          </a:prstGeom>
        </p:spPr>
        <p:txBody>
          <a:bodyPr/>
          <a:lstStyle>
            <a:lvl1pPr algn="ctr">
              <a:defRPr sz="8600" b="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keyword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FB444965-E044-4A0E-AF68-E4BE9274FB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8208"/>
          <a:stretch/>
        </p:blipFill>
        <p:spPr>
          <a:xfrm>
            <a:off x="7920000" y="0"/>
            <a:ext cx="1003103" cy="149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7737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 08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705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0938" y="1080000"/>
            <a:ext cx="6842125" cy="1191095"/>
          </a:xfrm>
          <a:prstGeom prst="rect">
            <a:avLst/>
          </a:prstGeom>
        </p:spPr>
        <p:txBody>
          <a:bodyPr/>
          <a:lstStyle>
            <a:lvl1pPr algn="ctr">
              <a:defRPr sz="8600" b="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keyword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91F423DD-CBFB-49CE-AA4F-09B644ECBA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00000" y="0"/>
            <a:ext cx="1936800" cy="149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1050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 09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522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0938" y="1080000"/>
            <a:ext cx="6842125" cy="1191095"/>
          </a:xfrm>
          <a:prstGeom prst="rect">
            <a:avLst/>
          </a:prstGeom>
        </p:spPr>
        <p:txBody>
          <a:bodyPr/>
          <a:lstStyle>
            <a:lvl1pPr algn="ctr">
              <a:defRPr sz="8600" b="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keyword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D8E005BD-91AC-4B46-BC2F-00957D55E19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00000" y="0"/>
            <a:ext cx="1936800" cy="149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7312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word 10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48745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50938" y="1080000"/>
            <a:ext cx="6842125" cy="1191095"/>
          </a:xfrm>
          <a:prstGeom prst="rect">
            <a:avLst/>
          </a:prstGeom>
        </p:spPr>
        <p:txBody>
          <a:bodyPr/>
          <a:lstStyle>
            <a:lvl1pPr algn="ctr">
              <a:defRPr sz="8600" b="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keyword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BFCE027D-5F77-40AC-A411-8BE1918424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8208"/>
          <a:stretch/>
        </p:blipFill>
        <p:spPr>
          <a:xfrm>
            <a:off x="7920000" y="0"/>
            <a:ext cx="1003103" cy="149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458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04">
    <p:bg>
      <p:bgPr>
        <a:solidFill>
          <a:srgbClr val="64B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054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263" y="2321634"/>
            <a:ext cx="3993786" cy="2286326"/>
          </a:xfrm>
          <a:prstGeom prst="rect">
            <a:avLst/>
          </a:prstGeom>
          <a:solidFill>
            <a:srgbClr val="C81E82"/>
          </a:solidFill>
        </p:spPr>
        <p:txBody>
          <a:bodyPr lIns="396000" tIns="396000" rIns="396000" bIns="43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cs-CZ"/>
              <a:t>Presentation cover</a:t>
            </a:r>
            <a:br>
              <a:rPr lang="cs-CZ"/>
            </a:br>
            <a:r>
              <a:rPr lang="cs-CZ"/>
              <a:t>second line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971916" y="4027882"/>
            <a:ext cx="3168000" cy="153888"/>
          </a:xfrm>
          <a:prstGeom prst="rect">
            <a:avLst/>
          </a:prstGeom>
        </p:spPr>
        <p:txBody>
          <a:bodyPr anchor="b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E5276B48-7DB3-4C9A-A8B3-831E497E8F2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13283" y="0"/>
            <a:ext cx="3530717" cy="27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2164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818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68643" y="2382594"/>
            <a:ext cx="3456000" cy="1728000"/>
          </a:xfrm>
          <a:prstGeom prst="rect">
            <a:avLst/>
          </a:prstGeom>
          <a:solidFill>
            <a:srgbClr val="009BA5"/>
          </a:solidFill>
        </p:spPr>
        <p:txBody>
          <a:bodyPr lIns="396000" tIns="396000" rIns="396000" bIns="43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Thank you!</a:t>
            </a:r>
            <a:br>
              <a:rPr lang="cs-CZ" noProof="0"/>
            </a:br>
            <a:r>
              <a:rPr lang="cs-CZ" noProof="0"/>
              <a:t>Final slide</a:t>
            </a:r>
            <a:endParaRPr lang="en-GB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0BC2F39F-1D18-47B5-9FB8-C6835BC15F0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15608" y="0"/>
            <a:ext cx="3528392" cy="2716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2777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02">
    <p:bg>
      <p:bgPr>
        <a:solidFill>
          <a:srgbClr val="64B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3811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68643" y="2382594"/>
            <a:ext cx="3456000" cy="1728000"/>
          </a:xfrm>
          <a:prstGeom prst="rect">
            <a:avLst/>
          </a:prstGeom>
          <a:solidFill>
            <a:srgbClr val="EB4B0A"/>
          </a:solidFill>
        </p:spPr>
        <p:txBody>
          <a:bodyPr lIns="396000" tIns="396000" rIns="396000" bIns="43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Thank you!</a:t>
            </a:r>
            <a:br>
              <a:rPr lang="cs-CZ" noProof="0"/>
            </a:br>
            <a:r>
              <a:rPr lang="cs-CZ" noProof="0"/>
              <a:t>Final slide</a:t>
            </a:r>
            <a:endParaRPr lang="en-GB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6967E1FD-CED0-4B5E-BDFC-E2227E1CBC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13283" y="0"/>
            <a:ext cx="3530717" cy="27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1925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03">
    <p:bg>
      <p:bgPr>
        <a:solidFill>
          <a:srgbClr val="00AA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3619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68643" y="2382594"/>
            <a:ext cx="3456000" cy="1728000"/>
          </a:xfrm>
          <a:prstGeom prst="rect">
            <a:avLst/>
          </a:prstGeom>
          <a:solidFill>
            <a:srgbClr val="E60055"/>
          </a:solidFill>
        </p:spPr>
        <p:txBody>
          <a:bodyPr lIns="396000" tIns="396000" rIns="396000" bIns="43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Thank you!</a:t>
            </a:r>
            <a:br>
              <a:rPr lang="cs-CZ" noProof="0"/>
            </a:br>
            <a:r>
              <a:rPr lang="cs-CZ" noProof="0"/>
              <a:t>Final slide</a:t>
            </a:r>
            <a:endParaRPr lang="en-GB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680992D2-D7B5-4F2D-A7A4-0B350B9E65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13283" y="0"/>
            <a:ext cx="3530717" cy="27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6514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04">
    <p:bg>
      <p:bgPr>
        <a:solidFill>
          <a:srgbClr val="C81E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9517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68643" y="2382594"/>
            <a:ext cx="3456000" cy="1728000"/>
          </a:xfrm>
          <a:prstGeom prst="rect">
            <a:avLst/>
          </a:prstGeom>
          <a:solidFill>
            <a:srgbClr val="780A5F"/>
          </a:solidFill>
        </p:spPr>
        <p:txBody>
          <a:bodyPr lIns="396000" tIns="396000" rIns="396000" bIns="43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Thank you!</a:t>
            </a:r>
            <a:br>
              <a:rPr lang="cs-CZ" noProof="0"/>
            </a:br>
            <a:r>
              <a:rPr lang="cs-CZ" noProof="0"/>
              <a:t>Final slide</a:t>
            </a:r>
            <a:endParaRPr lang="en-GB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FB5755D9-0433-4CFD-AE1A-47CCABE9EE8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13283" y="0"/>
            <a:ext cx="3530717" cy="27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7040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partners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521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sp>
        <p:nvSpPr>
          <p:cNvPr id="23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69092" y="1432168"/>
            <a:ext cx="3456000" cy="3168000"/>
          </a:xfrm>
          <a:prstGeom prst="rect">
            <a:avLst/>
          </a:prstGeom>
          <a:solidFill>
            <a:srgbClr val="009BA5"/>
          </a:solidFill>
        </p:spPr>
        <p:txBody>
          <a:bodyPr lIns="360000" tIns="360000" rIns="270000" bIns="27000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noProof="0"/>
              <a:t>Contact partners</a:t>
            </a:r>
            <a:endParaRPr lang="en-GB" noProof="0"/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69092" y="2291338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 Surname</a:t>
            </a:r>
            <a:endParaRPr lang="en-GB" noProof="0"/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9092" y="3161978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 Surname</a:t>
            </a:r>
            <a:endParaRPr lang="en-GB" noProof="0"/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69092" y="2489091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Function</a:t>
            </a:r>
            <a:endParaRPr lang="en-GB" noProof="0"/>
          </a:p>
        </p:txBody>
      </p:sp>
      <p:sp>
        <p:nvSpPr>
          <p:cNvPr id="27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69092" y="2686844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 +</a:t>
            </a:r>
            <a:r>
              <a:rPr lang="cs-CZ" noProof="0"/>
              <a:t>420 000 000 000</a:t>
            </a:r>
            <a:endParaRPr lang="en-GB" noProof="0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69092" y="2884597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.surname</a:t>
            </a:r>
            <a:r>
              <a:rPr lang="en-GB" noProof="0"/>
              <a:t>@innogy.c</a:t>
            </a:r>
            <a:r>
              <a:rPr lang="cs-CZ" noProof="0"/>
              <a:t>z</a:t>
            </a:r>
            <a:endParaRPr lang="en-GB" noProof="0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69092" y="3359731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Function</a:t>
            </a:r>
            <a:endParaRPr lang="en-GB" noProof="0"/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69092" y="3557484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 +</a:t>
            </a:r>
            <a:r>
              <a:rPr lang="cs-CZ" noProof="0"/>
              <a:t>420 000 000 000</a:t>
            </a:r>
            <a:endParaRPr lang="en-GB" noProof="0"/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69092" y="3755236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.surname</a:t>
            </a:r>
            <a:r>
              <a:rPr lang="en-GB" noProof="0"/>
              <a:t>@innogy.c</a:t>
            </a:r>
            <a:r>
              <a:rPr lang="cs-CZ" noProof="0"/>
              <a:t>z</a:t>
            </a:r>
            <a:endParaRPr lang="en-GB" noProof="0"/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B6B71CA1-9CD1-422D-B698-FB9B9ED6D2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15608" y="0"/>
            <a:ext cx="3528392" cy="2716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7044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partners 02">
    <p:bg>
      <p:bgPr>
        <a:solidFill>
          <a:srgbClr val="00AA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59654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sp>
        <p:nvSpPr>
          <p:cNvPr id="23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69092" y="1432168"/>
            <a:ext cx="3456000" cy="3168000"/>
          </a:xfrm>
          <a:prstGeom prst="rect">
            <a:avLst/>
          </a:prstGeom>
          <a:solidFill>
            <a:srgbClr val="EB4B0A"/>
          </a:solidFill>
        </p:spPr>
        <p:txBody>
          <a:bodyPr lIns="360000" tIns="360000" rIns="270000" bIns="27000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noProof="0"/>
              <a:t>Contact partners</a:t>
            </a:r>
            <a:endParaRPr lang="en-GB" noProof="0"/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69092" y="2291338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 Surname</a:t>
            </a:r>
            <a:endParaRPr lang="en-GB" noProof="0"/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9092" y="3161978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 Surname</a:t>
            </a:r>
            <a:endParaRPr lang="en-GB" noProof="0"/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69092" y="2489091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Function</a:t>
            </a:r>
            <a:endParaRPr lang="en-GB" noProof="0"/>
          </a:p>
        </p:txBody>
      </p:sp>
      <p:sp>
        <p:nvSpPr>
          <p:cNvPr id="27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69092" y="2686844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 +</a:t>
            </a:r>
            <a:r>
              <a:rPr lang="cs-CZ" noProof="0"/>
              <a:t>420 000 000 000</a:t>
            </a:r>
            <a:endParaRPr lang="en-GB" noProof="0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69092" y="2884597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.surname</a:t>
            </a:r>
            <a:r>
              <a:rPr lang="en-GB" noProof="0"/>
              <a:t>@innogy.c</a:t>
            </a:r>
            <a:r>
              <a:rPr lang="cs-CZ" noProof="0"/>
              <a:t>z</a:t>
            </a:r>
            <a:endParaRPr lang="en-GB" noProof="0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69092" y="3359731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Function</a:t>
            </a:r>
            <a:endParaRPr lang="en-GB" noProof="0"/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69092" y="3557484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 +</a:t>
            </a:r>
            <a:r>
              <a:rPr lang="cs-CZ" noProof="0"/>
              <a:t>420 000 000 000</a:t>
            </a:r>
            <a:endParaRPr lang="en-GB" noProof="0"/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69092" y="3755236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.surname</a:t>
            </a:r>
            <a:r>
              <a:rPr lang="en-GB" noProof="0"/>
              <a:t>@innogy.c</a:t>
            </a:r>
            <a:r>
              <a:rPr lang="cs-CZ" noProof="0"/>
              <a:t>z</a:t>
            </a:r>
            <a:endParaRPr lang="en-GB" noProof="0"/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7BFACE2C-5CBC-4B85-BBE6-9D12764400D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13283" y="0"/>
            <a:ext cx="3530717" cy="27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9974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partners 03">
    <p:bg>
      <p:bgPr>
        <a:solidFill>
          <a:srgbClr val="C81E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6394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sp>
        <p:nvSpPr>
          <p:cNvPr id="23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69092" y="1432168"/>
            <a:ext cx="3456000" cy="3168000"/>
          </a:xfrm>
          <a:prstGeom prst="rect">
            <a:avLst/>
          </a:prstGeom>
          <a:solidFill>
            <a:srgbClr val="F59B00"/>
          </a:solidFill>
        </p:spPr>
        <p:txBody>
          <a:bodyPr lIns="360000" tIns="360000" rIns="270000" bIns="27000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noProof="0"/>
              <a:t>Contact partners</a:t>
            </a:r>
            <a:endParaRPr lang="en-GB" noProof="0"/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69092" y="2291338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 Surname</a:t>
            </a:r>
            <a:endParaRPr lang="en-GB" noProof="0"/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9092" y="3161978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 Surname</a:t>
            </a:r>
            <a:endParaRPr lang="en-GB" noProof="0"/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69092" y="2489091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Function</a:t>
            </a:r>
            <a:endParaRPr lang="en-GB" noProof="0"/>
          </a:p>
        </p:txBody>
      </p:sp>
      <p:sp>
        <p:nvSpPr>
          <p:cNvPr id="27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69092" y="2686844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 +</a:t>
            </a:r>
            <a:r>
              <a:rPr lang="cs-CZ" noProof="0"/>
              <a:t>420 000 000 000</a:t>
            </a:r>
            <a:endParaRPr lang="en-GB" noProof="0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69092" y="2884597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.surname</a:t>
            </a:r>
            <a:r>
              <a:rPr lang="en-GB" noProof="0"/>
              <a:t>@innogy.c</a:t>
            </a:r>
            <a:r>
              <a:rPr lang="cs-CZ" noProof="0"/>
              <a:t>z</a:t>
            </a:r>
            <a:endParaRPr lang="en-GB" noProof="0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69092" y="3359731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Function</a:t>
            </a:r>
            <a:endParaRPr lang="en-GB" noProof="0"/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69092" y="3557484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 +</a:t>
            </a:r>
            <a:r>
              <a:rPr lang="cs-CZ" noProof="0"/>
              <a:t>420 000 000 000</a:t>
            </a:r>
            <a:endParaRPr lang="en-GB" noProof="0"/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69092" y="3755236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.surname</a:t>
            </a:r>
            <a:r>
              <a:rPr lang="en-GB" noProof="0"/>
              <a:t>@innogy.c</a:t>
            </a:r>
            <a:r>
              <a:rPr lang="cs-CZ" noProof="0"/>
              <a:t>z</a:t>
            </a:r>
            <a:endParaRPr lang="en-GB" noProof="0"/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62523691-8985-4FFD-B5B3-0B4AF0A7AF2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13283" y="0"/>
            <a:ext cx="3530717" cy="27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8591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partners 04">
    <p:bg>
      <p:bgPr>
        <a:solidFill>
          <a:srgbClr val="64B4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8925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sp>
        <p:nvSpPr>
          <p:cNvPr id="23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69092" y="1432168"/>
            <a:ext cx="3456000" cy="3168000"/>
          </a:xfrm>
          <a:prstGeom prst="rect">
            <a:avLst/>
          </a:prstGeom>
          <a:solidFill>
            <a:srgbClr val="E60055"/>
          </a:solidFill>
        </p:spPr>
        <p:txBody>
          <a:bodyPr lIns="360000" tIns="360000" rIns="270000" bIns="27000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noProof="0"/>
              <a:t>Contact partners</a:t>
            </a:r>
            <a:endParaRPr lang="en-GB" noProof="0"/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69092" y="2291338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 Surname</a:t>
            </a:r>
            <a:endParaRPr lang="en-GB" noProof="0"/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69092" y="3161978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 Surname</a:t>
            </a:r>
            <a:endParaRPr lang="en-GB" noProof="0"/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69092" y="2489091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Function</a:t>
            </a:r>
            <a:endParaRPr lang="en-GB" noProof="0"/>
          </a:p>
        </p:txBody>
      </p:sp>
      <p:sp>
        <p:nvSpPr>
          <p:cNvPr id="27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69092" y="2686844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 +</a:t>
            </a:r>
            <a:r>
              <a:rPr lang="cs-CZ" noProof="0"/>
              <a:t>420 000 000 000</a:t>
            </a:r>
            <a:endParaRPr lang="en-GB" noProof="0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69092" y="2884597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.surname</a:t>
            </a:r>
            <a:r>
              <a:rPr lang="en-GB" noProof="0"/>
              <a:t>@innogy.c</a:t>
            </a:r>
            <a:r>
              <a:rPr lang="cs-CZ" noProof="0"/>
              <a:t>z</a:t>
            </a:r>
            <a:endParaRPr lang="en-GB" noProof="0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69092" y="3359731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Function</a:t>
            </a:r>
            <a:endParaRPr lang="en-GB" noProof="0"/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69092" y="3557484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 +</a:t>
            </a:r>
            <a:r>
              <a:rPr lang="cs-CZ" noProof="0"/>
              <a:t>420 000 000 000</a:t>
            </a:r>
            <a:endParaRPr lang="en-GB" noProof="0"/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69092" y="3755236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.surname</a:t>
            </a:r>
            <a:r>
              <a:rPr lang="en-GB" noProof="0"/>
              <a:t>@innogy.c</a:t>
            </a:r>
            <a:r>
              <a:rPr lang="cs-CZ" noProof="0"/>
              <a:t>z</a:t>
            </a:r>
            <a:endParaRPr lang="en-GB" noProof="0"/>
          </a:p>
        </p:txBody>
      </p: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C96A7217-3E8C-418F-9614-95A39F98A2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13283" y="0"/>
            <a:ext cx="3530717" cy="27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8963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partn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Zástupný obsah 4">
            <a:extLst>
              <a:ext uri="{FF2B5EF4-FFF2-40B4-BE49-F238E27FC236}">
                <a16:creationId xmlns:a16="http://schemas.microsoft.com/office/drawing/2014/main" id="{F6594E56-F3D2-4216-AB6B-6F3E13D3144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75556" y="1444442"/>
            <a:ext cx="3456000" cy="2855500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cs-CZ"/>
              <a:t>Picture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6603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">
                  <p:embed/>
                </p:oleObj>
              </mc:Choice>
              <mc:Fallback>
                <p:oleObj name="think-cell Folie" r:id="rId3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23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167848" y="2324598"/>
            <a:ext cx="3456000" cy="2304000"/>
          </a:xfrm>
          <a:prstGeom prst="rect">
            <a:avLst/>
          </a:prstGeom>
          <a:solidFill>
            <a:srgbClr val="64B42D"/>
          </a:solidFill>
        </p:spPr>
        <p:txBody>
          <a:bodyPr lIns="360000" tIns="360000" rIns="270000" bIns="27000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cs-CZ" noProof="0"/>
              <a:t>Contact partner</a:t>
            </a:r>
            <a:endParaRPr lang="en-GB" noProof="0"/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03848" y="3186512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 Surname</a:t>
            </a:r>
            <a:endParaRPr lang="en-GB" noProof="0"/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03848" y="3384265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Function</a:t>
            </a:r>
            <a:endParaRPr lang="en-GB" noProof="0"/>
          </a:p>
        </p:txBody>
      </p:sp>
      <p:sp>
        <p:nvSpPr>
          <p:cNvPr id="27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03848" y="3582018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 +</a:t>
            </a:r>
            <a:r>
              <a:rPr lang="cs-CZ" noProof="0"/>
              <a:t>420 000 000 000</a:t>
            </a:r>
            <a:endParaRPr lang="en-GB" noProof="0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03848" y="3779771"/>
            <a:ext cx="3420000" cy="184666"/>
          </a:xfrm>
          <a:prstGeom prst="rect">
            <a:avLst/>
          </a:prstGeom>
        </p:spPr>
        <p:txBody>
          <a:bodyPr lIns="360000" rIns="27000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.surname</a:t>
            </a:r>
            <a:r>
              <a:rPr lang="en-GB" noProof="0"/>
              <a:t>@innogy.c</a:t>
            </a:r>
            <a:r>
              <a:rPr lang="cs-CZ" noProof="0"/>
              <a:t>z</a:t>
            </a:r>
            <a:endParaRPr lang="en-GB" noProof="0"/>
          </a:p>
        </p:txBody>
      </p:sp>
      <p:pic>
        <p:nvPicPr>
          <p:cNvPr id="10" name="Grafický objekt 9">
            <a:extLst>
              <a:ext uri="{FF2B5EF4-FFF2-40B4-BE49-F238E27FC236}">
                <a16:creationId xmlns:a16="http://schemas.microsoft.com/office/drawing/2014/main" id="{BA84F138-27DE-41B5-8311-D131440499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00599" y="1"/>
            <a:ext cx="1937645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30646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two partners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53702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5556" y="531479"/>
            <a:ext cx="7416824" cy="3600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Contact partners</a:t>
            </a:r>
            <a:endParaRPr lang="en-GB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305485" y="3153600"/>
            <a:ext cx="2880000" cy="184666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 Surname</a:t>
            </a:r>
            <a:endParaRPr lang="en-GB" noProof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305485" y="3380400"/>
            <a:ext cx="2880000" cy="184666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Function</a:t>
            </a:r>
            <a:endParaRPr lang="en-GB" noProof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305485" y="3535200"/>
            <a:ext cx="2880000" cy="184666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 +</a:t>
            </a:r>
            <a:r>
              <a:rPr lang="cs-CZ" noProof="0"/>
              <a:t>420 000 000 000</a:t>
            </a:r>
            <a:endParaRPr lang="en-GB" noProof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305485" y="3686400"/>
            <a:ext cx="2880000" cy="184666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.surname</a:t>
            </a:r>
            <a:r>
              <a:rPr lang="en-GB" noProof="0"/>
              <a:t>@innogy.c</a:t>
            </a:r>
            <a:r>
              <a:rPr lang="cs-CZ" noProof="0"/>
              <a:t>z</a:t>
            </a:r>
            <a:endParaRPr lang="en-GB" noProof="0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113486" y="1886400"/>
            <a:ext cx="2880000" cy="184666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 Surname</a:t>
            </a:r>
            <a:endParaRPr lang="en-GB" noProof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113486" y="2116800"/>
            <a:ext cx="2880000" cy="184666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Function</a:t>
            </a:r>
            <a:endParaRPr lang="en-GB" noProof="0"/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113486" y="2271600"/>
            <a:ext cx="2880000" cy="184666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T +</a:t>
            </a:r>
            <a:r>
              <a:rPr lang="cs-CZ" noProof="0"/>
              <a:t>420 000 000 000</a:t>
            </a:r>
            <a:endParaRPr lang="en-GB" noProof="0"/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13486" y="2422800"/>
            <a:ext cx="2880000" cy="184666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noProof="0"/>
              <a:t>name.surname</a:t>
            </a:r>
            <a:r>
              <a:rPr lang="en-GB" noProof="0"/>
              <a:t>@innogy.c</a:t>
            </a:r>
            <a:r>
              <a:rPr lang="cs-CZ" noProof="0"/>
              <a:t>z</a:t>
            </a:r>
            <a:endParaRPr lang="en-GB" noProof="0"/>
          </a:p>
        </p:txBody>
      </p:sp>
      <p:sp>
        <p:nvSpPr>
          <p:cNvPr id="27" name="Bildplatzhalter 8">
            <a:extLst>
              <a:ext uri="{FF2B5EF4-FFF2-40B4-BE49-F238E27FC236}">
                <a16:creationId xmlns:a16="http://schemas.microsoft.com/office/drawing/2014/main" id="{A4ACA3A6-7D0C-4CBD-ACC1-5EAB943E4E43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581844" y="2714400"/>
            <a:ext cx="1512000" cy="1512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 w="76200">
            <a:solidFill>
              <a:srgbClr val="780A5F"/>
            </a:solidFill>
          </a:ln>
        </p:spPr>
        <p:txBody>
          <a:bodyPr vert="horz" wrap="square" lIns="0" tIns="0" rIns="0" bIns="0" rtlCol="0">
            <a:noAutofit/>
          </a:bodyPr>
          <a:lstStyle>
            <a:lvl1pPr marL="0" indent="0" algn="ctr">
              <a:spcBef>
                <a:spcPts val="0"/>
              </a:spcBef>
              <a:buNone/>
              <a:defRPr lang="de-DE" sz="1000"/>
            </a:lvl1pPr>
          </a:lstStyle>
          <a:p>
            <a:pPr marL="0" lvl="0" indent="0" algn="ctr">
              <a:spcBef>
                <a:spcPts val="0"/>
              </a:spcBef>
            </a:pPr>
            <a:r>
              <a:rPr lang="cs-CZ"/>
              <a:t>Picture</a:t>
            </a:r>
            <a:endParaRPr lang="en-GB" noProof="0"/>
          </a:p>
        </p:txBody>
      </p:sp>
      <p:sp>
        <p:nvSpPr>
          <p:cNvPr id="28" name="Bildplatzhalter 8">
            <a:extLst>
              <a:ext uri="{FF2B5EF4-FFF2-40B4-BE49-F238E27FC236}">
                <a16:creationId xmlns:a16="http://schemas.microsoft.com/office/drawing/2014/main" id="{EB4E60BF-0F9A-46BD-8292-1F030FCD61F3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20000" y="1455738"/>
            <a:ext cx="1512000" cy="151200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 w="76200">
            <a:solidFill>
              <a:srgbClr val="F59B00"/>
            </a:solidFill>
          </a:ln>
        </p:spPr>
        <p:txBody>
          <a:bodyPr vert="horz" wrap="square" lIns="0" tIns="0" rIns="0" bIns="0" rtlCol="0">
            <a:noAutofit/>
          </a:bodyPr>
          <a:lstStyle>
            <a:lvl1pPr marL="0" indent="0" algn="ctr">
              <a:spcBef>
                <a:spcPts val="0"/>
              </a:spcBef>
              <a:buNone/>
              <a:defRPr lang="de-DE" sz="1000"/>
            </a:lvl1pPr>
          </a:lstStyle>
          <a:p>
            <a:pPr marL="0" lvl="0" indent="0" algn="ctr">
              <a:spcBef>
                <a:spcPts val="0"/>
              </a:spcBef>
            </a:pPr>
            <a:r>
              <a:rPr lang="cs-CZ"/>
              <a:t>Picture</a:t>
            </a:r>
            <a:endParaRPr lang="en-GB" noProof="0"/>
          </a:p>
        </p:txBody>
      </p:sp>
      <p:pic>
        <p:nvPicPr>
          <p:cNvPr id="19" name="Grafický objekt 18">
            <a:extLst>
              <a:ext uri="{FF2B5EF4-FFF2-40B4-BE49-F238E27FC236}">
                <a16:creationId xmlns:a16="http://schemas.microsoft.com/office/drawing/2014/main" id="{3363749C-55E7-4709-AE05-4253216CAD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49846"/>
          <a:stretch/>
        </p:blipFill>
        <p:spPr>
          <a:xfrm>
            <a:off x="7920679" y="1"/>
            <a:ext cx="971801" cy="1491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894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05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232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263" y="2321634"/>
            <a:ext cx="3993786" cy="2286326"/>
          </a:xfrm>
          <a:prstGeom prst="rect">
            <a:avLst/>
          </a:prstGeom>
          <a:solidFill>
            <a:srgbClr val="E60055"/>
          </a:solidFill>
        </p:spPr>
        <p:txBody>
          <a:bodyPr lIns="396000" tIns="396000" rIns="396000" bIns="43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cs-CZ"/>
              <a:t>Presentation cover</a:t>
            </a:r>
            <a:br>
              <a:rPr lang="cs-CZ"/>
            </a:br>
            <a:r>
              <a:rPr lang="cs-CZ"/>
              <a:t>second line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971916" y="4027882"/>
            <a:ext cx="3168000" cy="153888"/>
          </a:xfrm>
          <a:prstGeom prst="rect">
            <a:avLst/>
          </a:prstGeom>
        </p:spPr>
        <p:txBody>
          <a:bodyPr anchor="b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0EDCB0F9-8E51-4175-A060-E0601943ED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7913"/>
          <a:stretch/>
        </p:blipFill>
        <p:spPr>
          <a:xfrm>
            <a:off x="6300000" y="0"/>
            <a:ext cx="1839037" cy="27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6052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06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106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76263" y="2321634"/>
            <a:ext cx="3993786" cy="2286326"/>
          </a:xfrm>
          <a:prstGeom prst="rect">
            <a:avLst/>
          </a:prstGeom>
          <a:solidFill>
            <a:srgbClr val="F59B00"/>
          </a:solidFill>
        </p:spPr>
        <p:txBody>
          <a:bodyPr lIns="396000" tIns="396000" rIns="396000" bIns="432000">
            <a:no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cs-CZ"/>
              <a:t>Presentation cover</a:t>
            </a:r>
            <a:br>
              <a:rPr lang="cs-CZ"/>
            </a:br>
            <a:r>
              <a:rPr lang="cs-CZ"/>
              <a:t>second line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971916" y="4027882"/>
            <a:ext cx="3168000" cy="153888"/>
          </a:xfrm>
          <a:prstGeom prst="rect">
            <a:avLst/>
          </a:prstGeom>
        </p:spPr>
        <p:txBody>
          <a:bodyPr anchor="b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1EE01ED9-4741-4E6C-9946-BA0B52DC4A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7913"/>
          <a:stretch/>
        </p:blipFill>
        <p:spPr>
          <a:xfrm>
            <a:off x="6300000" y="0"/>
            <a:ext cx="1839037" cy="27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01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0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CED67E11-F8B7-4945-AB9D-7FE33FE6FDD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15608" y="0"/>
            <a:ext cx="3528392" cy="2716211"/>
          </a:xfrm>
          <a:prstGeom prst="rect">
            <a:avLst/>
          </a:prstGeom>
        </p:spPr>
      </p:pic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4103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18" name="Objek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707904" y="2587124"/>
            <a:ext cx="4788420" cy="1208762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2800" b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/>
              <a:t>Title page first line</a:t>
            </a:r>
            <a:br>
              <a:rPr lang="cs-CZ"/>
            </a:br>
            <a:r>
              <a:rPr lang="cs-CZ"/>
              <a:t>second line</a:t>
            </a:r>
            <a:endParaRPr lang="en-GB" noProof="0"/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707904" y="3950423"/>
            <a:ext cx="4428380" cy="153888"/>
          </a:xfrm>
          <a:prstGeom prst="rect">
            <a:avLst/>
          </a:prstGeom>
        </p:spPr>
        <p:txBody>
          <a:bodyPr anchor="t" anchorCtr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31843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0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923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8" name="Objek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707904" y="2587124"/>
            <a:ext cx="4428380" cy="1208762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2800" b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/>
              <a:t>Title page first line</a:t>
            </a:r>
            <a:br>
              <a:rPr lang="cs-CZ"/>
            </a:br>
            <a:r>
              <a:rPr lang="cs-CZ"/>
              <a:t>second line</a:t>
            </a:r>
            <a:endParaRPr lang="en-GB" noProof="0"/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707904" y="3950423"/>
            <a:ext cx="4428380" cy="153888"/>
          </a:xfrm>
          <a:prstGeom prst="rect">
            <a:avLst/>
          </a:prstGeom>
        </p:spPr>
        <p:txBody>
          <a:bodyPr anchor="t" anchorCtr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90EBFB3F-D588-4E85-81D9-815F593FD8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7945"/>
          <a:stretch/>
        </p:blipFill>
        <p:spPr>
          <a:xfrm>
            <a:off x="6300192" y="0"/>
            <a:ext cx="1836712" cy="2716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910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0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809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8" name="Objek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707904" y="2587124"/>
            <a:ext cx="4428380" cy="1208762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2800" b="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/>
              <a:t>Title page first line</a:t>
            </a:r>
            <a:br>
              <a:rPr lang="cs-CZ"/>
            </a:br>
            <a:r>
              <a:rPr lang="cs-CZ"/>
              <a:t>second line</a:t>
            </a:r>
            <a:endParaRPr lang="en-GB" noProof="0"/>
          </a:p>
        </p:txBody>
      </p:sp>
      <p:sp>
        <p:nvSpPr>
          <p:cNvPr id="43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3707904" y="3950423"/>
            <a:ext cx="4428380" cy="153888"/>
          </a:xfrm>
          <a:prstGeom prst="rect">
            <a:avLst/>
          </a:prstGeom>
        </p:spPr>
        <p:txBody>
          <a:bodyPr anchor="t" anchorCtr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65D3C2EB-F745-490E-A7A7-DF4ACFA3D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47945"/>
          <a:stretch/>
        </p:blipFill>
        <p:spPr>
          <a:xfrm>
            <a:off x="6300192" y="0"/>
            <a:ext cx="1836712" cy="2716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7918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1684069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2" imgW="360" imgH="360" progId="">
                  <p:embed/>
                </p:oleObj>
              </mc:Choice>
              <mc:Fallback>
                <p:oleObj name="think-cell Folie" r:id="rId52" imgW="360" imgH="360" progId="">
                  <p:embed/>
                  <p:pic>
                    <p:nvPicPr>
                      <p:cNvPr id="13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75556" y="531479"/>
            <a:ext cx="7416824" cy="3600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cs-CZ"/>
              <a:t>Kliknutím upravíte styl nadpisu</a:t>
            </a:r>
            <a:endParaRPr lang="en-GB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75556" y="1403511"/>
            <a:ext cx="7417507" cy="32204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cs-CZ" noProof="0"/>
              <a:t>Third level</a:t>
            </a:r>
            <a:endParaRPr lang="en-GB" noProof="0"/>
          </a:p>
          <a:p>
            <a:pPr lvl="1"/>
            <a:r>
              <a:rPr lang="cs-CZ" noProof="0"/>
              <a:t>Fourth level</a:t>
            </a:r>
            <a:endParaRPr lang="en-GB" noProof="0"/>
          </a:p>
          <a:p>
            <a:pPr lvl="2"/>
            <a:r>
              <a:rPr lang="cs-CZ" noProof="0"/>
              <a:t>Fifth level</a:t>
            </a:r>
            <a:endParaRPr lang="en-GB" noProof="0"/>
          </a:p>
          <a:p>
            <a:pPr lvl="3"/>
            <a:r>
              <a:rPr lang="en-US" noProof="0"/>
              <a:t>Click to edit Master text styles</a:t>
            </a:r>
            <a:endParaRPr lang="en-GB" noProof="0"/>
          </a:p>
          <a:p>
            <a:pPr lvl="4"/>
            <a:r>
              <a:rPr lang="cs-CZ" noProof="0"/>
              <a:t>Second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575556" y="4743043"/>
            <a:ext cx="648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332265" y="4743043"/>
            <a:ext cx="66079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F05F51B1-EF07-4A0A-8ED6-43388CBBB34F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16046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685" r:id="rId7"/>
    <p:sldLayoutId id="2147483738" r:id="rId8"/>
    <p:sldLayoutId id="2147483739" r:id="rId9"/>
    <p:sldLayoutId id="2147483740" r:id="rId10"/>
    <p:sldLayoutId id="2147483741" r:id="rId11"/>
    <p:sldLayoutId id="2147483687" r:id="rId12"/>
    <p:sldLayoutId id="2147483742" r:id="rId13"/>
    <p:sldLayoutId id="2147483743" r:id="rId14"/>
    <p:sldLayoutId id="2147483689" r:id="rId15"/>
    <p:sldLayoutId id="2147483744" r:id="rId16"/>
    <p:sldLayoutId id="2147483745" r:id="rId17"/>
    <p:sldLayoutId id="2147483746" r:id="rId18"/>
    <p:sldLayoutId id="2147483715" r:id="rId19"/>
    <p:sldLayoutId id="2147483691" r:id="rId20"/>
    <p:sldLayoutId id="2147483692" r:id="rId21"/>
    <p:sldLayoutId id="2147483695" r:id="rId22"/>
    <p:sldLayoutId id="2147483765" r:id="rId23"/>
    <p:sldLayoutId id="2147483696" r:id="rId24"/>
    <p:sldLayoutId id="2147483700" r:id="rId25"/>
    <p:sldLayoutId id="2147483697" r:id="rId26"/>
    <p:sldLayoutId id="2147483747" r:id="rId27"/>
    <p:sldLayoutId id="2147483748" r:id="rId28"/>
    <p:sldLayoutId id="2147483749" r:id="rId29"/>
    <p:sldLayoutId id="2147483701" r:id="rId30"/>
    <p:sldLayoutId id="2147483751" r:id="rId31"/>
    <p:sldLayoutId id="2147483752" r:id="rId32"/>
    <p:sldLayoutId id="2147483753" r:id="rId33"/>
    <p:sldLayoutId id="2147483702" r:id="rId34"/>
    <p:sldLayoutId id="2147483754" r:id="rId35"/>
    <p:sldLayoutId id="2147483755" r:id="rId36"/>
    <p:sldLayoutId id="2147483756" r:id="rId37"/>
    <p:sldLayoutId id="2147483757" r:id="rId38"/>
    <p:sldLayoutId id="2147483758" r:id="rId39"/>
    <p:sldLayoutId id="2147483708" r:id="rId40"/>
    <p:sldLayoutId id="2147483759" r:id="rId41"/>
    <p:sldLayoutId id="2147483760" r:id="rId42"/>
    <p:sldLayoutId id="2147483761" r:id="rId43"/>
    <p:sldLayoutId id="2147483709" r:id="rId44"/>
    <p:sldLayoutId id="2147483762" r:id="rId45"/>
    <p:sldLayoutId id="2147483763" r:id="rId46"/>
    <p:sldLayoutId id="2147483764" r:id="rId47"/>
    <p:sldLayoutId id="2147483712" r:id="rId48"/>
    <p:sldLayoutId id="2147483713" r:id="rId4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ts val="3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0975" algn="l" defTabSz="914400" rtl="0" eaLnBrk="1" latinLnBrk="0" hangingPunct="1">
        <a:spcBef>
          <a:spcPts val="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80000" algn="l" defTabSz="914400" rtl="0" eaLnBrk="1" latinLnBrk="0" hangingPunct="1">
        <a:spcBef>
          <a:spcPts val="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spcBef>
          <a:spcPts val="1000"/>
        </a:spcBef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7" userDrawn="1">
          <p15:clr>
            <a:srgbClr val="F26B43"/>
          </p15:clr>
        </p15:guide>
        <p15:guide id="2" pos="363" userDrawn="1">
          <p15:clr>
            <a:srgbClr val="F26B43"/>
          </p15:clr>
        </p15:guide>
        <p15:guide id="3" pos="5035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2608" userDrawn="1">
          <p15:clr>
            <a:srgbClr val="F26B43"/>
          </p15:clr>
        </p15:guide>
        <p15:guide id="6" pos="2789" userDrawn="1">
          <p15:clr>
            <a:srgbClr val="F26B43"/>
          </p15:clr>
        </p15:guide>
        <p15:guide id="7" orient="horz" pos="291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hyperlink" Target="https://pages.awscloud.com/rs/112-TZM-766/images/How%20to%20Leverage%20AWS%20Modern%20Data%20Architecture%20to%20Accelerate%20your%20Data%20Strategy.pdf" TargetMode="External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3.gi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3F7D9D39-F101-4002-91AA-0F653C6496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2321634"/>
            <a:ext cx="3993786" cy="2286326"/>
          </a:xfrm>
          <a:solidFill>
            <a:srgbClr val="00875A"/>
          </a:solidFill>
        </p:spPr>
        <p:txBody>
          <a:bodyPr/>
          <a:lstStyle/>
          <a:p>
            <a:r>
              <a:rPr lang="en-US"/>
              <a:t>Cloud and Data Analytics Architecture</a:t>
            </a:r>
            <a:br>
              <a:rPr lang="cs-CZ" b="1"/>
            </a:br>
            <a:br>
              <a:rPr lang="cs-CZ" b="1"/>
            </a:br>
            <a:r>
              <a:rPr lang="en-US" sz="1800" b="1"/>
              <a:t>Data Everywhere for Everyone</a:t>
            </a:r>
            <a:endParaRPr lang="cs-CZ" b="1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013433F2-9735-45C3-B033-7DB8ADC2E2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1600" y="4227934"/>
            <a:ext cx="3312052" cy="307777"/>
          </a:xfrm>
        </p:spPr>
        <p:txBody>
          <a:bodyPr/>
          <a:lstStyle/>
          <a:p>
            <a:r>
              <a:rPr lang="en-US" dirty="0"/>
              <a:t>Big Data Analytics in Power and Utilities Industry Summit</a:t>
            </a:r>
            <a:r>
              <a:rPr lang="cs-CZ" dirty="0"/>
              <a:t> Amsterdam 202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9160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5E109847-9B57-45D0-A8DF-2560849F33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10</a:t>
            </a:fld>
            <a:endParaRPr lang="en-GB" noProof="0"/>
          </a:p>
        </p:txBody>
      </p:sp>
      <p:sp>
        <p:nvSpPr>
          <p:cNvPr id="16" name="Zástupný text 15">
            <a:extLst>
              <a:ext uri="{FF2B5EF4-FFF2-40B4-BE49-F238E27FC236}">
                <a16:creationId xmlns:a16="http://schemas.microsoft.com/office/drawing/2014/main" id="{9945FF27-6E3E-467E-987E-7AEF67BCA8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57117" y="872366"/>
            <a:ext cx="2880000" cy="1440000"/>
          </a:xfrm>
        </p:spPr>
        <p:txBody>
          <a:bodyPr/>
          <a:lstStyle/>
          <a:p>
            <a:pPr lvl="0"/>
            <a:r>
              <a:rPr lang="en-US" noProof="0"/>
              <a:t>Analytical Database at its Center</a:t>
            </a:r>
          </a:p>
          <a:p>
            <a:pPr lvl="1"/>
            <a:r>
              <a:rPr lang="en-US" noProof="0"/>
              <a:t>ETL data pipelines that extract all the data</a:t>
            </a:r>
            <a:r>
              <a:rPr lang="cs-CZ" noProof="0"/>
              <a:t> to database </a:t>
            </a:r>
            <a:r>
              <a:rPr lang="cs-CZ" noProof="0" err="1"/>
              <a:t>or</a:t>
            </a:r>
            <a:r>
              <a:rPr lang="cs-CZ" noProof="0"/>
              <a:t> </a:t>
            </a:r>
            <a:r>
              <a:rPr lang="cs-CZ" noProof="0" err="1"/>
              <a:t>datawarehouse</a:t>
            </a:r>
            <a:r>
              <a:rPr lang="cs-CZ" noProof="0"/>
              <a:t> </a:t>
            </a:r>
            <a:r>
              <a:rPr lang="cs-CZ" noProof="0" err="1"/>
              <a:t>at</a:t>
            </a:r>
            <a:r>
              <a:rPr lang="cs-CZ" noProof="0"/>
              <a:t> </a:t>
            </a:r>
            <a:r>
              <a:rPr lang="cs-CZ" noProof="0" err="1"/>
              <a:t>its</a:t>
            </a:r>
            <a:r>
              <a:rPr lang="cs-CZ" noProof="0"/>
              <a:t> center</a:t>
            </a:r>
            <a:endParaRPr lang="en-GB" noProof="0"/>
          </a:p>
        </p:txBody>
      </p:sp>
      <p:sp>
        <p:nvSpPr>
          <p:cNvPr id="17" name="Zástupný text 16">
            <a:extLst>
              <a:ext uri="{FF2B5EF4-FFF2-40B4-BE49-F238E27FC236}">
                <a16:creationId xmlns:a16="http://schemas.microsoft.com/office/drawing/2014/main" id="{57014189-368E-423F-9B25-BC7C0F0A44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27538" y="1355725"/>
            <a:ext cx="2879725" cy="1439863"/>
          </a:xfrm>
        </p:spPr>
        <p:txBody>
          <a:bodyPr/>
          <a:lstStyle/>
          <a:p>
            <a:pPr lvl="0"/>
            <a:r>
              <a:rPr lang="cs-CZ" noProof="0"/>
              <a:t>Full-</a:t>
            </a:r>
            <a:r>
              <a:rPr lang="cs-CZ" noProof="0" err="1"/>
              <a:t>blown</a:t>
            </a:r>
            <a:r>
              <a:rPr lang="cs-CZ" noProof="0"/>
              <a:t> Data </a:t>
            </a:r>
            <a:r>
              <a:rPr lang="cs-CZ" noProof="0" err="1"/>
              <a:t>Streaming</a:t>
            </a:r>
            <a:endParaRPr lang="cs-CZ" noProof="0"/>
          </a:p>
          <a:p>
            <a:pPr lvl="1"/>
            <a:r>
              <a:rPr lang="en-US" noProof="0"/>
              <a:t>A set of microservices commonly configured as a messaging queue </a:t>
            </a:r>
            <a:endParaRPr lang="en-GB" noProof="0"/>
          </a:p>
        </p:txBody>
      </p:sp>
      <p:sp>
        <p:nvSpPr>
          <p:cNvPr id="18" name="Zástupný text 17">
            <a:extLst>
              <a:ext uri="{FF2B5EF4-FFF2-40B4-BE49-F238E27FC236}">
                <a16:creationId xmlns:a16="http://schemas.microsoft.com/office/drawing/2014/main" id="{85310A26-89DA-4D30-912F-EDC0A6CB468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27538" y="3073400"/>
            <a:ext cx="3492500" cy="1439863"/>
          </a:xfrm>
        </p:spPr>
        <p:txBody>
          <a:bodyPr/>
          <a:lstStyle/>
          <a:p>
            <a:pPr lvl="0"/>
            <a:r>
              <a:rPr lang="cs-CZ" noProof="0"/>
              <a:t>Full-</a:t>
            </a:r>
            <a:r>
              <a:rPr lang="cs-CZ" noProof="0" err="1"/>
              <a:t>blown</a:t>
            </a:r>
            <a:r>
              <a:rPr lang="cs-CZ" noProof="0"/>
              <a:t> Data </a:t>
            </a:r>
            <a:r>
              <a:rPr lang="cs-CZ" noProof="0" err="1"/>
              <a:t>Mesh</a:t>
            </a:r>
            <a:endParaRPr lang="cs-CZ" noProof="0"/>
          </a:p>
          <a:p>
            <a:pPr lvl="1"/>
            <a:r>
              <a:rPr lang="en-US" noProof="0"/>
              <a:t>A set of microservices that are not product-oriented like streaming architectures, but are domain-focused on the teams and products</a:t>
            </a:r>
            <a:endParaRPr lang="en-GB" noProof="0"/>
          </a:p>
        </p:txBody>
      </p:sp>
      <p:sp>
        <p:nvSpPr>
          <p:cNvPr id="19" name="Zástupný text 18">
            <a:extLst>
              <a:ext uri="{FF2B5EF4-FFF2-40B4-BE49-F238E27FC236}">
                <a16:creationId xmlns:a16="http://schemas.microsoft.com/office/drawing/2014/main" id="{C6BB9A96-5C77-4B45-8E4C-FF96CC381C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288" y="2578100"/>
            <a:ext cx="3492500" cy="1439863"/>
          </a:xfrm>
        </p:spPr>
        <p:txBody>
          <a:bodyPr/>
          <a:lstStyle/>
          <a:p>
            <a:pPr lvl="0"/>
            <a:r>
              <a:rPr lang="en-US" noProof="0"/>
              <a:t>Data Lake at its Center</a:t>
            </a:r>
          </a:p>
          <a:p>
            <a:pPr lvl="1"/>
            <a:r>
              <a:rPr lang="en-US" noProof="0"/>
              <a:t>ELT pipelines that store everything in a data lake, which gets later integrated into an approved data model.</a:t>
            </a:r>
            <a:endParaRPr lang="en-GB" noProof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260E4812-99D2-403E-B32C-431E4783A3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7538" y="2990577"/>
            <a:ext cx="3552680" cy="205477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00715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DAF4CFA-F2CC-431B-B015-F3DB683C9B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75556" y="4743043"/>
            <a:ext cx="6480000" cy="123111"/>
          </a:xfrm>
        </p:spPr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5092A821-CE04-49A4-BC60-1F918C8B9E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11</a:t>
            </a:fld>
            <a:endParaRPr lang="en-GB" noProof="0"/>
          </a:p>
        </p:txBody>
      </p:sp>
      <p:sp>
        <p:nvSpPr>
          <p:cNvPr id="13" name="Zástupný text 12">
            <a:extLst>
              <a:ext uri="{FF2B5EF4-FFF2-40B4-BE49-F238E27FC236}">
                <a16:creationId xmlns:a16="http://schemas.microsoft.com/office/drawing/2014/main" id="{3347C11E-3A92-4635-8BD7-E1F48ADB36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5556" y="1468394"/>
            <a:ext cx="7321538" cy="2975564"/>
          </a:xfrm>
        </p:spPr>
        <p:txBody>
          <a:bodyPr/>
          <a:lstStyle/>
          <a:p>
            <a:pPr lvl="0"/>
            <a:r>
              <a:rPr lang="en-US" b="0" i="0" dirty="0">
                <a:solidFill>
                  <a:srgbClr val="112336"/>
                </a:solidFill>
                <a:effectLst/>
                <a:latin typeface="Cerebrisans"/>
              </a:rPr>
              <a:t>We integrate so many </a:t>
            </a:r>
            <a:r>
              <a:rPr lang="cs-CZ" b="0" i="0" dirty="0">
                <a:solidFill>
                  <a:srgbClr val="112336"/>
                </a:solidFill>
                <a:effectLst/>
                <a:latin typeface="Cerebrisans"/>
              </a:rPr>
              <a:t>and </a:t>
            </a:r>
            <a:r>
              <a:rPr lang="en-US" b="0" i="0" dirty="0">
                <a:solidFill>
                  <a:srgbClr val="112336"/>
                </a:solidFill>
                <a:effectLst/>
                <a:latin typeface="Cerebrisans"/>
              </a:rPr>
              <a:t>focusing more on the integration, administration, and maintenance of those tools instead of building data products. </a:t>
            </a:r>
            <a:endParaRPr lang="cs-CZ" b="0" i="0" dirty="0">
              <a:solidFill>
                <a:srgbClr val="112336"/>
              </a:solidFill>
              <a:effectLst/>
              <a:latin typeface="Cerebrisans"/>
            </a:endParaRPr>
          </a:p>
          <a:p>
            <a:pPr lvl="0"/>
            <a:endParaRPr lang="cs-CZ" dirty="0">
              <a:solidFill>
                <a:srgbClr val="112336"/>
              </a:solidFill>
              <a:latin typeface="Cerebrisans"/>
            </a:endParaRPr>
          </a:p>
          <a:p>
            <a:pPr marL="285750" lvl="0" indent="-285750">
              <a:buFontTx/>
              <a:buChar char="-"/>
            </a:pPr>
            <a:r>
              <a:rPr lang="cs-CZ" b="0" i="0" dirty="0" err="1">
                <a:solidFill>
                  <a:srgbClr val="112336"/>
                </a:solidFill>
                <a:effectLst/>
                <a:latin typeface="Cerebrisans"/>
              </a:rPr>
              <a:t>Who</a:t>
            </a:r>
            <a:r>
              <a:rPr lang="en-US" b="0" i="0" dirty="0">
                <a:solidFill>
                  <a:srgbClr val="112336"/>
                </a:solidFill>
                <a:effectLst/>
                <a:latin typeface="Cerebrisans"/>
              </a:rPr>
              <a:t>’s going to use the tool?</a:t>
            </a:r>
          </a:p>
          <a:p>
            <a:pPr marL="285750" lvl="0" indent="-285750">
              <a:buFontTx/>
              <a:buChar char="-"/>
            </a:pPr>
            <a:r>
              <a:rPr lang="en-US" dirty="0">
                <a:solidFill>
                  <a:srgbClr val="112336"/>
                </a:solidFill>
                <a:latin typeface="Cerebrisans"/>
              </a:rPr>
              <a:t>What data problems is the tool trying to solve?</a:t>
            </a:r>
          </a:p>
          <a:p>
            <a:pPr marL="285750" lvl="0" indent="-285750">
              <a:buFontTx/>
              <a:buChar char="-"/>
            </a:pPr>
            <a:r>
              <a:rPr lang="en-US" b="0" i="0" dirty="0">
                <a:solidFill>
                  <a:srgbClr val="112336"/>
                </a:solidFill>
                <a:effectLst/>
                <a:latin typeface="Cerebrisans"/>
              </a:rPr>
              <a:t>What are you data governance re</a:t>
            </a:r>
            <a:r>
              <a:rPr lang="en-US" dirty="0">
                <a:solidFill>
                  <a:srgbClr val="112336"/>
                </a:solidFill>
                <a:latin typeface="Cerebrisans"/>
              </a:rPr>
              <a:t>quirements?</a:t>
            </a:r>
          </a:p>
          <a:p>
            <a:pPr marL="285750" lvl="0" indent="-285750">
              <a:buFontTx/>
              <a:buChar char="-"/>
            </a:pPr>
            <a:endParaRPr lang="en-US" b="0" i="0" dirty="0">
              <a:solidFill>
                <a:srgbClr val="112336"/>
              </a:solidFill>
              <a:effectLst/>
              <a:latin typeface="Cerebrisans"/>
            </a:endParaRPr>
          </a:p>
          <a:p>
            <a:pPr marL="285750" lvl="0" indent="-285750">
              <a:buFontTx/>
              <a:buChar char="-"/>
            </a:pPr>
            <a:endParaRPr lang="cs-CZ" b="0" i="0" dirty="0">
              <a:solidFill>
                <a:srgbClr val="112336"/>
              </a:solidFill>
              <a:effectLst/>
              <a:latin typeface="Cerebrisans"/>
            </a:endParaRPr>
          </a:p>
          <a:p>
            <a:pPr lvl="0"/>
            <a:endParaRPr lang="cs-CZ" noProof="0" dirty="0">
              <a:solidFill>
                <a:srgbClr val="112336"/>
              </a:solidFill>
              <a:latin typeface="Cerebrisans"/>
            </a:endParaRPr>
          </a:p>
          <a:p>
            <a:pPr lvl="0"/>
            <a:endParaRPr lang="en-US" noProof="0" dirty="0"/>
          </a:p>
        </p:txBody>
      </p:sp>
      <p:sp>
        <p:nvSpPr>
          <p:cNvPr id="12" name="Nadpis 11">
            <a:extLst>
              <a:ext uri="{FF2B5EF4-FFF2-40B4-BE49-F238E27FC236}">
                <a16:creationId xmlns:a16="http://schemas.microsoft.com/office/drawing/2014/main" id="{73D3749E-4F15-4B1F-B5A0-02D2E2115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556" y="454718"/>
            <a:ext cx="7321538" cy="360099"/>
          </a:xfrm>
        </p:spPr>
        <p:txBody>
          <a:bodyPr/>
          <a:lstStyle/>
          <a:p>
            <a:r>
              <a:rPr lang="cs-CZ"/>
              <a:t>C</a:t>
            </a:r>
            <a:r>
              <a:rPr lang="en-US" err="1"/>
              <a:t>hallenges</a:t>
            </a:r>
            <a:r>
              <a:rPr lang="en-US"/>
              <a:t> of the Modern Data Stack?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770817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B9D6278-1229-4B3F-8FE8-06A85D317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0938" y="1080000"/>
            <a:ext cx="6842125" cy="1191095"/>
          </a:xfrm>
        </p:spPr>
        <p:txBody>
          <a:bodyPr/>
          <a:lstStyle/>
          <a:p>
            <a:r>
              <a:rPr lang="cs-CZ"/>
              <a:t>TOOLS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779742E8-152F-4CD3-AA43-A2145453D4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20" y="2571750"/>
            <a:ext cx="2322329" cy="2322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7412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e 8">
            <a:extLst>
              <a:ext uri="{FF2B5EF4-FFF2-40B4-BE49-F238E27FC236}">
                <a16:creationId xmlns:a16="http://schemas.microsoft.com/office/drawing/2014/main" id="{99FC34ED-C43C-4F90-99CE-71F7BF9E17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7364906"/>
              </p:ext>
            </p:extLst>
          </p:nvPr>
        </p:nvGraphicFramePr>
        <p:xfrm>
          <a:off x="3131717" y="1319848"/>
          <a:ext cx="2211163" cy="3779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9740">
                <a:tc>
                  <a:txBody>
                    <a:bodyPr/>
                    <a:lstStyle/>
                    <a:p>
                      <a:r>
                        <a:rPr lang="en-GB" sz="4000">
                          <a:solidFill>
                            <a:srgbClr val="E60055"/>
                          </a:solidFill>
                        </a:rPr>
                        <a:t>1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7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baseline="0" dirty="0" err="1">
                          <a:solidFill>
                            <a:schemeClr val="tx1"/>
                          </a:solidFill>
                        </a:rPr>
                        <a:t>Engineering</a:t>
                      </a:r>
                      <a:r>
                        <a:rPr lang="cs-CZ" sz="1600" b="1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600" b="1" baseline="0" dirty="0" err="1">
                          <a:solidFill>
                            <a:schemeClr val="tx1"/>
                          </a:solidFill>
                        </a:rPr>
                        <a:t>principles</a:t>
                      </a:r>
                      <a:br>
                        <a:rPr lang="cs-CZ" sz="1600" b="1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cs-CZ" sz="1600" b="0" baseline="0" dirty="0">
                          <a:solidFill>
                            <a:schemeClr val="tx1"/>
                          </a:solidFill>
                        </a:rPr>
                        <a:t>testing, </a:t>
                      </a: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code</a:t>
                      </a:r>
                      <a:r>
                        <a:rPr lang="cs-CZ" sz="16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review</a:t>
                      </a:r>
                      <a:r>
                        <a:rPr lang="cs-CZ" sz="1600" b="0" baseline="0" dirty="0">
                          <a:solidFill>
                            <a:schemeClr val="tx1"/>
                          </a:solidFill>
                        </a:rPr>
                        <a:t>, CICD</a:t>
                      </a:r>
                      <a:endParaRPr lang="en-GB" sz="1600" b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740">
                <a:tc>
                  <a:txBody>
                    <a:bodyPr/>
                    <a:lstStyle/>
                    <a:p>
                      <a:r>
                        <a:rPr lang="en-GB" sz="4000" b="1">
                          <a:solidFill>
                            <a:srgbClr val="E60055"/>
                          </a:solidFill>
                        </a:rPr>
                        <a:t>2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77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baseline="0" dirty="0">
                          <a:solidFill>
                            <a:schemeClr val="tx1"/>
                          </a:solidFill>
                        </a:rPr>
                        <a:t>SQL</a:t>
                      </a:r>
                      <a:br>
                        <a:rPr lang="cs-CZ" sz="1600" b="1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well-known</a:t>
                      </a:r>
                      <a:r>
                        <a:rPr lang="cs-CZ" sz="16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language</a:t>
                      </a:r>
                      <a:endParaRPr lang="en-GB" sz="1600" b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740">
                <a:tc>
                  <a:txBody>
                    <a:bodyPr/>
                    <a:lstStyle/>
                    <a:p>
                      <a:r>
                        <a:rPr lang="en-GB" sz="4000" b="1" dirty="0">
                          <a:solidFill>
                            <a:srgbClr val="E60055"/>
                          </a:solidFill>
                        </a:rPr>
                        <a:t>3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77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baseline="0" dirty="0">
                          <a:solidFill>
                            <a:schemeClr val="tx1"/>
                          </a:solidFill>
                        </a:rPr>
                        <a:t>Out-</a:t>
                      </a:r>
                      <a:r>
                        <a:rPr lang="cs-CZ" sz="1600" b="1" baseline="0" dirty="0" err="1">
                          <a:solidFill>
                            <a:schemeClr val="tx1"/>
                          </a:solidFill>
                        </a:rPr>
                        <a:t>of</a:t>
                      </a:r>
                      <a:r>
                        <a:rPr lang="cs-CZ" sz="1600" b="1" baseline="0" dirty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cs-CZ" sz="1600" b="1" baseline="0" dirty="0" err="1">
                          <a:solidFill>
                            <a:schemeClr val="tx1"/>
                          </a:solidFill>
                        </a:rPr>
                        <a:t>the</a:t>
                      </a:r>
                      <a:r>
                        <a:rPr lang="cs-CZ" sz="1600" b="1" baseline="0" dirty="0">
                          <a:solidFill>
                            <a:schemeClr val="tx1"/>
                          </a:solidFill>
                        </a:rPr>
                        <a:t>-box testing</a:t>
                      </a:r>
                      <a:br>
                        <a:rPr lang="cs-CZ" sz="1600" b="1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600" b="0" baseline="0" dirty="0">
                          <a:solidFill>
                            <a:schemeClr val="tx1"/>
                          </a:solidFill>
                        </a:rPr>
                        <a:t>data integrity, referential constraints, and semantic validity</a:t>
                      </a:r>
                      <a:endParaRPr lang="en-GB" sz="1600" b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3" name="Tabelle 9">
            <a:extLst>
              <a:ext uri="{FF2B5EF4-FFF2-40B4-BE49-F238E27FC236}">
                <a16:creationId xmlns:a16="http://schemas.microsoft.com/office/drawing/2014/main" id="{AF2DDC0C-A55F-4B7C-8D4E-1CE274F2AB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33084"/>
              </p:ext>
            </p:extLst>
          </p:nvPr>
        </p:nvGraphicFramePr>
        <p:xfrm>
          <a:off x="5724128" y="1319848"/>
          <a:ext cx="2211163" cy="353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1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3944">
                <a:tc>
                  <a:txBody>
                    <a:bodyPr/>
                    <a:lstStyle/>
                    <a:p>
                      <a:r>
                        <a:rPr lang="en-GB" sz="4000">
                          <a:solidFill>
                            <a:srgbClr val="E60055"/>
                          </a:solidFill>
                        </a:rPr>
                        <a:t>4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7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baseline="0" dirty="0" err="1">
                          <a:solidFill>
                            <a:schemeClr val="tx1"/>
                          </a:solidFill>
                        </a:rPr>
                        <a:t>Documentation</a:t>
                      </a:r>
                      <a:br>
                        <a:rPr lang="cs-CZ" sz="1600" b="1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knowledge</a:t>
                      </a:r>
                      <a:r>
                        <a:rPr lang="cs-CZ" sz="16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repository</a:t>
                      </a:r>
                      <a:r>
                        <a:rPr lang="cs-CZ" sz="1600" b="0" baseline="0" dirty="0">
                          <a:solidFill>
                            <a:schemeClr val="tx1"/>
                          </a:solidFill>
                        </a:rPr>
                        <a:t>, data </a:t>
                      </a: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lineage</a:t>
                      </a:r>
                      <a:endParaRPr lang="en-GB" sz="1600" b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9740">
                <a:tc>
                  <a:txBody>
                    <a:bodyPr/>
                    <a:lstStyle/>
                    <a:p>
                      <a:r>
                        <a:rPr lang="en-GB" sz="4000" b="1">
                          <a:solidFill>
                            <a:srgbClr val="E60055"/>
                          </a:solidFill>
                        </a:rPr>
                        <a:t>5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77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baseline="0" dirty="0" err="1">
                          <a:solidFill>
                            <a:schemeClr val="tx1"/>
                          </a:solidFill>
                        </a:rPr>
                        <a:t>Versioning</a:t>
                      </a:r>
                      <a:br>
                        <a:rPr lang="cs-CZ" sz="1600" b="1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integrate</a:t>
                      </a:r>
                      <a:r>
                        <a:rPr lang="cs-CZ" sz="16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with</a:t>
                      </a:r>
                      <a:r>
                        <a:rPr lang="cs-CZ" sz="16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git</a:t>
                      </a:r>
                      <a:endParaRPr lang="en-GB" sz="1600" b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740">
                <a:tc>
                  <a:txBody>
                    <a:bodyPr/>
                    <a:lstStyle/>
                    <a:p>
                      <a:r>
                        <a:rPr lang="en-GB" sz="4000" b="1" dirty="0">
                          <a:solidFill>
                            <a:srgbClr val="E60055"/>
                          </a:solidFill>
                        </a:rPr>
                        <a:t>6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77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baseline="0" dirty="0" err="1">
                          <a:solidFill>
                            <a:schemeClr val="tx1"/>
                          </a:solidFill>
                        </a:rPr>
                        <a:t>Deployment</a:t>
                      </a:r>
                      <a:br>
                        <a:rPr lang="cs-CZ" sz="1600" b="1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DataOps</a:t>
                      </a:r>
                      <a:r>
                        <a:rPr lang="cs-CZ" sz="16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prac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</a:rPr>
                        <a:t>t</a:t>
                      </a:r>
                      <a:r>
                        <a:rPr lang="cs-CZ" sz="1600" b="0" baseline="0" dirty="0" err="1">
                          <a:solidFill>
                            <a:schemeClr val="tx1"/>
                          </a:solidFill>
                        </a:rPr>
                        <a:t>ices</a:t>
                      </a:r>
                      <a:endParaRPr lang="en-GB" sz="1600" b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Zástupný symbol pro zápatí 1">
            <a:extLst>
              <a:ext uri="{FF2B5EF4-FFF2-40B4-BE49-F238E27FC236}">
                <a16:creationId xmlns:a16="http://schemas.microsoft.com/office/drawing/2014/main" id="{27E51853-62D0-4059-958D-1B52E16E08F1}"/>
              </a:ext>
            </a:extLst>
          </p:cNvPr>
          <p:cNvSpPr txBox="1">
            <a:spLocks/>
          </p:cNvSpPr>
          <p:nvPr/>
        </p:nvSpPr>
        <p:spPr>
          <a:xfrm>
            <a:off x="6695101" y="4920362"/>
            <a:ext cx="2972559" cy="446276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800" dirty="0">
                <a:solidFill>
                  <a:srgbClr val="233141"/>
                </a:solidFill>
                <a:latin typeface="Cerebrisans"/>
              </a:rPr>
              <a:t>Source</a:t>
            </a:r>
            <a:r>
              <a:rPr lang="cs-CZ" sz="800" b="0" i="0" dirty="0">
                <a:solidFill>
                  <a:srgbClr val="233141"/>
                </a:solidFill>
                <a:effectLst/>
                <a:latin typeface="Cerebrisans"/>
              </a:rPr>
              <a:t>: </a:t>
            </a:r>
            <a:r>
              <a:rPr lang="en-US" sz="800" b="0" i="0" dirty="0">
                <a:solidFill>
                  <a:srgbClr val="233141"/>
                </a:solidFill>
                <a:effectLst/>
                <a:latin typeface="Cerebrisans"/>
              </a:rPr>
              <a:t>7 reasons why we integrated </a:t>
            </a:r>
            <a:r>
              <a:rPr lang="en-US" sz="800" b="0" i="0" dirty="0" err="1">
                <a:solidFill>
                  <a:srgbClr val="233141"/>
                </a:solidFill>
                <a:effectLst/>
                <a:latin typeface="Cerebrisans"/>
              </a:rPr>
              <a:t>dbt</a:t>
            </a:r>
            <a:r>
              <a:rPr lang="en-US" sz="800" b="0" i="0" dirty="0">
                <a:solidFill>
                  <a:srgbClr val="233141"/>
                </a:solidFill>
                <a:effectLst/>
                <a:latin typeface="Cerebrisans"/>
              </a:rPr>
              <a:t> into </a:t>
            </a:r>
            <a:r>
              <a:rPr lang="en-US" sz="800" b="0" i="0" dirty="0" err="1">
                <a:solidFill>
                  <a:srgbClr val="233141"/>
                </a:solidFill>
                <a:effectLst/>
                <a:latin typeface="Cerebrisans"/>
              </a:rPr>
              <a:t>Keboola</a:t>
            </a:r>
            <a:endParaRPr lang="en-US" sz="700" dirty="0">
              <a:solidFill>
                <a:srgbClr val="232F3E"/>
              </a:solidFill>
              <a:latin typeface="AmazonEmberBold"/>
            </a:endParaRPr>
          </a:p>
        </p:txBody>
      </p:sp>
    </p:spTree>
    <p:extLst>
      <p:ext uri="{BB962C8B-B14F-4D97-AF65-F5344CB8AC3E}">
        <p14:creationId xmlns:p14="http://schemas.microsoft.com/office/powerpoint/2010/main" val="18768718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B9D6278-1229-4B3F-8FE8-06A85D317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0938" y="1080000"/>
            <a:ext cx="6842125" cy="2354491"/>
          </a:xfrm>
        </p:spPr>
        <p:txBody>
          <a:bodyPr/>
          <a:lstStyle/>
          <a:p>
            <a:r>
              <a:rPr lang="cs-CZ" dirty="0"/>
              <a:t>Data </a:t>
            </a:r>
            <a:r>
              <a:rPr lang="cs-CZ" dirty="0" err="1"/>
              <a:t>Academy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876388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B9D6278-1229-4B3F-8FE8-06A85D317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0937" y="1995686"/>
            <a:ext cx="6842125" cy="1828193"/>
          </a:xfrm>
        </p:spPr>
        <p:txBody>
          <a:bodyPr/>
          <a:lstStyle/>
          <a:p>
            <a:r>
              <a:rPr lang="cs-CZ" sz="6600" dirty="0" err="1"/>
              <a:t>Modern</a:t>
            </a:r>
            <a:r>
              <a:rPr lang="cs-CZ" sz="6600" dirty="0"/>
              <a:t> data </a:t>
            </a:r>
            <a:r>
              <a:rPr lang="cs-CZ" sz="6600" dirty="0" err="1"/>
              <a:t>architecture</a:t>
            </a:r>
            <a:endParaRPr lang="cs-CZ" sz="6600" dirty="0"/>
          </a:p>
        </p:txBody>
      </p:sp>
    </p:spTree>
    <p:extLst>
      <p:ext uri="{BB962C8B-B14F-4D97-AF65-F5344CB8AC3E}">
        <p14:creationId xmlns:p14="http://schemas.microsoft.com/office/powerpoint/2010/main" val="21645566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3CFBB558-5E3F-4D6A-A905-1A7DE440AD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A6EDF8D6-36AB-4204-81F2-5239FDEFC1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05F51B1-EF07-4A0A-8ED6-43388CBBB34F}" type="slidenum">
              <a:rPr lang="en-GB" noProof="0" smtClean="0"/>
              <a:pPr/>
              <a:t>16</a:t>
            </a:fld>
            <a:endParaRPr lang="en-GB" noProof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24D1D3D-A879-4342-BF51-DA0D6990CD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0FC6CDA0-4F53-4018-887F-5487ED532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556" y="454718"/>
            <a:ext cx="7321538" cy="360099"/>
          </a:xfrm>
        </p:spPr>
        <p:txBody>
          <a:bodyPr/>
          <a:lstStyle/>
          <a:p>
            <a:r>
              <a:rPr lang="cs-CZ" err="1"/>
              <a:t>Modern</a:t>
            </a:r>
            <a:r>
              <a:rPr lang="cs-CZ"/>
              <a:t> Cloud Data </a:t>
            </a:r>
            <a:r>
              <a:rPr lang="cs-CZ" err="1"/>
              <a:t>Architecture</a:t>
            </a:r>
            <a:endParaRPr lang="cs-CZ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505C0489-33D0-4306-B16B-EB9EB2E6A4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349" y="999504"/>
            <a:ext cx="7511144" cy="4154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0595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B4DD3841-6CA2-4C19-B142-3EE05922B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346" y="1923678"/>
            <a:ext cx="4964599" cy="664797"/>
          </a:xfrm>
        </p:spPr>
        <p:txBody>
          <a:bodyPr/>
          <a:lstStyle/>
          <a:p>
            <a:r>
              <a:rPr lang="cs-CZ" dirty="0"/>
              <a:t>Data </a:t>
            </a:r>
            <a:r>
              <a:rPr lang="cs-CZ" dirty="0" err="1"/>
              <a:t>mesh</a:t>
            </a:r>
            <a:endParaRPr lang="cs-CZ" dirty="0"/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9A958AE8-5107-4EE3-A360-BD2ED57989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40346" y="3347966"/>
            <a:ext cx="5675552" cy="1146468"/>
          </a:xfrm>
        </p:spPr>
        <p:txBody>
          <a:bodyPr/>
          <a:lstStyle/>
          <a:p>
            <a:r>
              <a:rPr lang="cs-CZ" sz="2400" dirty="0"/>
              <a:t>As a </a:t>
            </a:r>
            <a:r>
              <a:rPr lang="en-US" sz="2400" dirty="0"/>
              <a:t>new approach to sourcing, sharing, accessing, and managing analytical </a:t>
            </a:r>
            <a:endParaRPr lang="cs-CZ" sz="2400" dirty="0"/>
          </a:p>
          <a:p>
            <a:r>
              <a:rPr lang="en-US" sz="2400" dirty="0"/>
              <a:t>data at scale</a:t>
            </a:r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17167385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E8001E37-0290-4AB4-B5B1-C2FC74E12D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42281" y="2571750"/>
            <a:ext cx="1735019" cy="446276"/>
          </a:xfrm>
        </p:spPr>
        <p:txBody>
          <a:bodyPr/>
          <a:lstStyle/>
          <a:p>
            <a:r>
              <a:rPr lang="en-US" sz="7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Data &amp; Analytics Modernization Days</a:t>
            </a:r>
            <a:r>
              <a:rPr lang="cs-CZ" sz="7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 2022</a:t>
            </a:r>
            <a:r>
              <a:rPr lang="cs-CZ" sz="7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n-US" sz="700" dirty="0"/>
              <a:t>How to leverage AWS Modern Data Architecture to Accelerate your Data Strategy</a:t>
            </a:r>
            <a:endParaRPr lang="cs-CZ" sz="7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700" b="0" i="0" dirty="0">
              <a:solidFill>
                <a:srgbClr val="232F3E"/>
              </a:solidFill>
              <a:effectLst/>
              <a:latin typeface="AmazonEmberBold"/>
            </a:endParaRP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AF6CA37-1685-4CFC-BB78-CC2EB11A5B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05F51B1-EF07-4A0A-8ED6-43388CBBB34F}" type="slidenum">
              <a:rPr lang="en-GB" noProof="0" smtClean="0"/>
              <a:pPr/>
              <a:t>18</a:t>
            </a:fld>
            <a:endParaRPr lang="en-GB" noProof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3F8AC885-8062-4468-BB87-8033009E4A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5411638"/>
              </p:ext>
            </p:extLst>
          </p:nvPr>
        </p:nvGraphicFramePr>
        <p:xfrm>
          <a:off x="-609566" y="220062"/>
          <a:ext cx="6873206" cy="48073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Picture 6">
            <a:extLst>
              <a:ext uri="{FF2B5EF4-FFF2-40B4-BE49-F238E27FC236}">
                <a16:creationId xmlns:a16="http://schemas.microsoft.com/office/drawing/2014/main" id="{09AAD67C-319D-4627-98E0-74B0D0CFEE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380" y="1809750"/>
            <a:ext cx="1077428" cy="644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84621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E4C4E4C2-1827-4E90-B830-284D9728E5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07904" y="2587124"/>
            <a:ext cx="4428380" cy="1208762"/>
          </a:xfrm>
        </p:spPr>
        <p:txBody>
          <a:bodyPr/>
          <a:lstStyle/>
          <a:p>
            <a:r>
              <a:rPr lang="cs-CZ" b="1" err="1">
                <a:solidFill>
                  <a:srgbClr val="780A5F"/>
                </a:solidFill>
              </a:rPr>
              <a:t>Think</a:t>
            </a:r>
            <a:r>
              <a:rPr lang="cs-CZ" b="1">
                <a:solidFill>
                  <a:srgbClr val="780A5F"/>
                </a:solidFill>
              </a:rPr>
              <a:t> Big,</a:t>
            </a:r>
            <a:r>
              <a:rPr lang="en-US"/>
              <a:t> </a:t>
            </a:r>
            <a:br>
              <a:rPr lang="cs-CZ"/>
            </a:br>
            <a:r>
              <a:rPr lang="cs-CZ"/>
              <a:t>	s</a:t>
            </a:r>
            <a:r>
              <a:rPr lang="en-US"/>
              <a:t>tart Small </a:t>
            </a:r>
            <a:br>
              <a:rPr lang="cs-CZ"/>
            </a:br>
            <a:r>
              <a:rPr lang="cs-CZ"/>
              <a:t>		</a:t>
            </a:r>
            <a:r>
              <a:rPr lang="en-US"/>
              <a:t>and</a:t>
            </a:r>
            <a:r>
              <a:rPr lang="cs-CZ"/>
              <a:t> </a:t>
            </a:r>
            <a:r>
              <a:rPr lang="en-US"/>
              <a:t>Be Prepared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26609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>
            <a:extLst>
              <a:ext uri="{FF2B5EF4-FFF2-40B4-BE49-F238E27FC236}">
                <a16:creationId xmlns:a16="http://schemas.microsoft.com/office/drawing/2014/main" id="{95B4EAA8-12AF-46C3-92F2-7227425DAE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5972" y="2911673"/>
            <a:ext cx="3096344" cy="2231827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32372881-796A-4E8F-8182-7ABC39108F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555" y="1432480"/>
            <a:ext cx="6707995" cy="12816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Nadpis 1">
            <a:extLst>
              <a:ext uri="{FF2B5EF4-FFF2-40B4-BE49-F238E27FC236}">
                <a16:creationId xmlns:a16="http://schemas.microsoft.com/office/drawing/2014/main" id="{34CEEE35-A428-4427-80D1-41F83FFDB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555" y="525598"/>
            <a:ext cx="7596843" cy="498598"/>
          </a:xfrm>
        </p:spPr>
        <p:txBody>
          <a:bodyPr/>
          <a:lstStyle/>
          <a:p>
            <a:pPr algn="l"/>
            <a:r>
              <a:rPr lang="en-US" sz="1800" b="1" cap="none" spc="0" dirty="0">
                <a:solidFill>
                  <a:srgbClr val="143C8C"/>
                </a:solidFill>
              </a:rPr>
              <a:t>innogy CZ market position: Market leader in natural gas, fastest-growing in electricity and #1 on the CNG market.</a:t>
            </a:r>
          </a:p>
        </p:txBody>
      </p:sp>
    </p:spTree>
    <p:extLst>
      <p:ext uri="{BB962C8B-B14F-4D97-AF65-F5344CB8AC3E}">
        <p14:creationId xmlns:p14="http://schemas.microsoft.com/office/powerpoint/2010/main" val="19513061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4969232C-C3DB-45DC-89A5-F0808C3EBF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8643" y="2382594"/>
            <a:ext cx="3456000" cy="1728000"/>
          </a:xfrm>
        </p:spPr>
        <p:txBody>
          <a:bodyPr/>
          <a:lstStyle/>
          <a:p>
            <a:r>
              <a:rPr lang="cs-CZ" noProof="0" dirty="0" err="1"/>
              <a:t>Thank</a:t>
            </a:r>
            <a:r>
              <a:rPr lang="cs-CZ" noProof="0" dirty="0"/>
              <a:t> </a:t>
            </a:r>
            <a:r>
              <a:rPr lang="cs-CZ" noProof="0" dirty="0" err="1"/>
              <a:t>you</a:t>
            </a:r>
            <a:r>
              <a:rPr lang="cs-CZ" noProof="0" dirty="0"/>
              <a:t>!</a:t>
            </a:r>
            <a:br>
              <a:rPr lang="cs-CZ" noProof="0" dirty="0"/>
            </a:b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07505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DC1183-F2B3-4E25-A9FE-05F5793A52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1CBE84E-2478-4CD2-B4FE-47E3CF7144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nogy · Presentation title · DD month YYYY</a:t>
            </a:r>
            <a:endParaRPr lang="en-GB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AC32BEB7-0E8F-4441-8810-5E8B8A8EFC8E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273" y="2292294"/>
            <a:ext cx="4244191" cy="23156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8182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5092A821-CE04-49A4-BC60-1F918C8B9E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4</a:t>
            </a:fld>
            <a:endParaRPr lang="en-GB" noProof="0"/>
          </a:p>
        </p:txBody>
      </p:sp>
      <p:sp>
        <p:nvSpPr>
          <p:cNvPr id="12" name="Nadpis 11">
            <a:extLst>
              <a:ext uri="{FF2B5EF4-FFF2-40B4-BE49-F238E27FC236}">
                <a16:creationId xmlns:a16="http://schemas.microsoft.com/office/drawing/2014/main" id="{73D3749E-4F15-4B1F-B5A0-02D2E2115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556" y="454718"/>
            <a:ext cx="7321538" cy="360099"/>
          </a:xfrm>
        </p:spPr>
        <p:txBody>
          <a:bodyPr/>
          <a:lstStyle/>
          <a:p>
            <a:r>
              <a:rPr lang="cs-CZ" dirty="0" err="1"/>
              <a:t>Our</a:t>
            </a:r>
            <a:r>
              <a:rPr lang="cs-CZ" dirty="0"/>
              <a:t> </a:t>
            </a:r>
            <a:r>
              <a:rPr lang="cs-CZ" b="0" dirty="0"/>
              <a:t>cloud story </a:t>
            </a:r>
            <a:r>
              <a:rPr lang="cs-CZ" b="0" dirty="0" err="1"/>
              <a:t>year</a:t>
            </a:r>
            <a:r>
              <a:rPr lang="cs-CZ" b="0" dirty="0"/>
              <a:t> by </a:t>
            </a:r>
            <a:r>
              <a:rPr lang="en-US" b="0" dirty="0"/>
              <a:t>year</a:t>
            </a:r>
            <a:endParaRPr lang="cs-CZ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24CAC7A-669E-4604-A234-9C657F9F8B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193" y="1247375"/>
            <a:ext cx="6948264" cy="3228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9169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56B984E-4C45-468E-8D1A-297CCB6DFA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07904" y="2587124"/>
            <a:ext cx="4788420" cy="1208762"/>
          </a:xfrm>
        </p:spPr>
        <p:txBody>
          <a:bodyPr/>
          <a:lstStyle/>
          <a:p>
            <a:r>
              <a:rPr lang="cs-CZ" b="1">
                <a:solidFill>
                  <a:srgbClr val="F59B00"/>
                </a:solidFill>
              </a:rPr>
              <a:t>Cloud </a:t>
            </a:r>
            <a:r>
              <a:rPr lang="cs-CZ" err="1"/>
              <a:t>will</a:t>
            </a:r>
            <a:r>
              <a:rPr lang="cs-CZ"/>
              <a:t> handle </a:t>
            </a:r>
            <a:r>
              <a:rPr lang="en-US"/>
              <a:t>all</a:t>
            </a:r>
            <a:r>
              <a:rPr lang="cs-CZ"/>
              <a:t> </a:t>
            </a:r>
            <a:r>
              <a:rPr lang="cs-CZ" err="1"/>
              <a:t>your</a:t>
            </a:r>
            <a:r>
              <a:rPr lang="en-US"/>
              <a:t> responsibility on security and data protection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335518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AF62F845-8B95-486B-BAA5-97C3054512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innogy · Presentation title · DD month YYYY</a:t>
            </a:r>
            <a:endParaRPr lang="en-GB" noProof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DF792D98-CE11-4930-AFDB-ACDC51BA67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05F51B1-EF07-4A0A-8ED6-43388CBBB34F}" type="slidenum">
              <a:rPr lang="en-GB" noProof="0" smtClean="0"/>
              <a:pPr/>
              <a:t>6</a:t>
            </a:fld>
            <a:endParaRPr lang="en-GB" noProof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9DC0484B-36CE-48D7-A26E-7F0BEFA644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8545" y="162426"/>
            <a:ext cx="5870701" cy="35433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050" name="Picture 2" descr="Cesar Millan GIF - Cesar911 Cesar911series Its Not Working GIFs">
            <a:extLst>
              <a:ext uri="{FF2B5EF4-FFF2-40B4-BE49-F238E27FC236}">
                <a16:creationId xmlns:a16="http://schemas.microsoft.com/office/drawing/2014/main" id="{7DC950B8-24E8-4D44-8419-61549142B082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985" y="2756617"/>
            <a:ext cx="3778955" cy="21095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9251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A6EDF8D6-36AB-4204-81F2-5239FDEFC1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05F51B1-EF07-4A0A-8ED6-43388CBBB34F}" type="slidenum">
              <a:rPr lang="en-GB" noProof="0" smtClean="0"/>
              <a:pPr/>
              <a:t>7</a:t>
            </a:fld>
            <a:endParaRPr lang="en-GB" noProof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24D1D3D-A879-4342-BF51-DA0D6990CD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5556" y="1468394"/>
            <a:ext cx="4731622" cy="3022321"/>
          </a:xfrm>
        </p:spPr>
        <p:txBody>
          <a:bodyPr/>
          <a:lstStyle/>
          <a:p>
            <a:pPr marL="742950" indent="-2857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WS </a:t>
            </a:r>
            <a:r>
              <a:rPr lang="en-US" sz="1600" b="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nPremise</a:t>
            </a:r>
            <a:endParaRPr lang="cs-CZ" sz="16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742950" indent="-2857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cs-CZ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742950" indent="-2857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cs-CZ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7429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rivate Cloud </a:t>
            </a: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(single-tenant): </a:t>
            </a:r>
            <a:endParaRPr lang="cs-CZ" sz="16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1102950" lvl="2" indent="-285750">
              <a:spcBef>
                <a:spcPts val="0"/>
              </a:spcBef>
            </a:pP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ustomer specific development</a:t>
            </a:r>
            <a:endParaRPr lang="cs-CZ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817200" lvl="2" indent="0">
              <a:spcBef>
                <a:spcPts val="0"/>
              </a:spcBef>
              <a:buNone/>
            </a:pPr>
            <a:endParaRPr lang="cs-CZ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742950" indent="-2857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ublic Cloud </a:t>
            </a: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(multi-tenant): </a:t>
            </a:r>
            <a:endParaRPr lang="cs-CZ" sz="16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1102950" lvl="2" indent="-285750">
              <a:spcBef>
                <a:spcPts val="0"/>
              </a:spcBef>
            </a:pP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ustom development</a:t>
            </a:r>
            <a:endParaRPr lang="en-US" b="0" dirty="0">
              <a:effectLst/>
            </a:endParaRPr>
          </a:p>
          <a:p>
            <a:pPr marL="742950" indent="-2857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cs-CZ" b="0" dirty="0">
              <a:effectLst/>
            </a:endParaRPr>
          </a:p>
          <a:p>
            <a:pPr marL="742950" indent="-2857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b="0" dirty="0">
              <a:effectLst/>
            </a:endParaRPr>
          </a:p>
          <a:p>
            <a:pPr marL="742950" indent="-2857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ustomer AWS account</a:t>
            </a:r>
            <a:endParaRPr lang="en-US" b="0" dirty="0">
              <a:effectLst/>
            </a:endParaRPr>
          </a:p>
          <a:p>
            <a:pPr marL="742950" indent="-28575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endor AWS account</a:t>
            </a:r>
            <a:endParaRPr lang="cs-CZ" sz="16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457200" rtl="0">
              <a:spcBef>
                <a:spcPts val="0"/>
              </a:spcBef>
              <a:spcAft>
                <a:spcPts val="0"/>
              </a:spcAft>
            </a:pPr>
            <a:endParaRPr lang="en-US" b="0" dirty="0">
              <a:effectLst/>
            </a:endParaRPr>
          </a:p>
          <a:p>
            <a:endParaRPr lang="cs-CZ" dirty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0FC6CDA0-4F53-4018-887F-5487ED532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556" y="454718"/>
            <a:ext cx="7321538" cy="360099"/>
          </a:xfrm>
        </p:spPr>
        <p:txBody>
          <a:bodyPr/>
          <a:lstStyle/>
          <a:p>
            <a:r>
              <a:rPr lang="cs-CZ" dirty="0"/>
              <a:t>innogy cloud </a:t>
            </a:r>
            <a:r>
              <a:rPr lang="cs-CZ" dirty="0" err="1"/>
              <a:t>application</a:t>
            </a:r>
            <a:r>
              <a:rPr lang="cs-CZ" dirty="0"/>
              <a:t> </a:t>
            </a:r>
            <a:r>
              <a:rPr lang="cs-CZ" dirty="0" err="1"/>
              <a:t>landscape</a:t>
            </a:r>
            <a:endParaRPr lang="cs-CZ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158991E9-D50E-48D1-9758-1330E0B7E5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2268" y="0"/>
            <a:ext cx="198982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6464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5092A821-CE04-49A4-BC60-1F918C8B9E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236296" y="4743043"/>
            <a:ext cx="660798" cy="123111"/>
          </a:xfrm>
        </p:spPr>
        <p:txBody>
          <a:bodyPr/>
          <a:lstStyle/>
          <a:p>
            <a:fld id="{F05F51B1-EF07-4A0A-8ED6-43388CBBB34F}" type="slidenum">
              <a:rPr lang="en-GB" noProof="0" smtClean="0"/>
              <a:pPr/>
              <a:t>8</a:t>
            </a:fld>
            <a:endParaRPr lang="en-GB" noProof="0"/>
          </a:p>
        </p:txBody>
      </p:sp>
      <p:sp>
        <p:nvSpPr>
          <p:cNvPr id="13" name="Zástupný text 12">
            <a:extLst>
              <a:ext uri="{FF2B5EF4-FFF2-40B4-BE49-F238E27FC236}">
                <a16:creationId xmlns:a16="http://schemas.microsoft.com/office/drawing/2014/main" id="{3347C11E-3A92-4635-8BD7-E1F48ADB36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5556" y="1468394"/>
            <a:ext cx="7321538" cy="2975564"/>
          </a:xfrm>
        </p:spPr>
        <p:txBody>
          <a:bodyPr/>
          <a:lstStyle/>
          <a:p>
            <a:br>
              <a:rPr lang="en-US" dirty="0"/>
            </a:br>
            <a:endParaRPr lang="en-US" noProof="0" dirty="0"/>
          </a:p>
        </p:txBody>
      </p:sp>
      <p:sp>
        <p:nvSpPr>
          <p:cNvPr id="12" name="Nadpis 11">
            <a:extLst>
              <a:ext uri="{FF2B5EF4-FFF2-40B4-BE49-F238E27FC236}">
                <a16:creationId xmlns:a16="http://schemas.microsoft.com/office/drawing/2014/main" id="{73D3749E-4F15-4B1F-B5A0-02D2E2115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556" y="454718"/>
            <a:ext cx="7321538" cy="332399"/>
          </a:xfrm>
        </p:spPr>
        <p:txBody>
          <a:bodyPr/>
          <a:lstStyle/>
          <a:p>
            <a:r>
              <a:rPr lang="cs-CZ" sz="24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nnogy </a:t>
            </a:r>
            <a:r>
              <a:rPr lang="cs-CZ" sz="240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hared</a:t>
            </a:r>
            <a:r>
              <a:rPr lang="cs-CZ" sz="24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cs-CZ" sz="240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sponsibility</a:t>
            </a:r>
            <a:r>
              <a:rPr lang="cs-CZ" sz="24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Model </a:t>
            </a:r>
            <a:endParaRPr lang="cs-CZ" sz="2400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32189C59-B7CD-413A-8EBB-4F341EF6AF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992" y="1468394"/>
            <a:ext cx="8108452" cy="3005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0724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B9A696E1-78B1-42A5-8F38-2CAEE9B961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3888" y="1779662"/>
            <a:ext cx="4964599" cy="2215991"/>
          </a:xfrm>
        </p:spPr>
        <p:txBody>
          <a:bodyPr/>
          <a:lstStyle/>
          <a:p>
            <a:r>
              <a:rPr lang="en-US" sz="4000" dirty="0"/>
              <a:t>Why Doesn’t</a:t>
            </a:r>
            <a:r>
              <a:rPr lang="cs-CZ" sz="4000" dirty="0"/>
              <a:t> </a:t>
            </a:r>
            <a:r>
              <a:rPr lang="cs-CZ" sz="4000" dirty="0" err="1"/>
              <a:t>modern</a:t>
            </a:r>
            <a:r>
              <a:rPr lang="en-US" sz="4000" dirty="0"/>
              <a:t> </a:t>
            </a:r>
            <a:r>
              <a:rPr lang="cs-CZ" sz="4000" dirty="0"/>
              <a:t>cloud </a:t>
            </a:r>
            <a:r>
              <a:rPr lang="en-US" sz="4000" dirty="0"/>
              <a:t>Result in a Modern Data Experience?</a:t>
            </a:r>
            <a:endParaRPr lang="cs-CZ" sz="4000" dirty="0"/>
          </a:p>
        </p:txBody>
      </p:sp>
    </p:spTree>
    <p:extLst>
      <p:ext uri="{BB962C8B-B14F-4D97-AF65-F5344CB8AC3E}">
        <p14:creationId xmlns:p14="http://schemas.microsoft.com/office/powerpoint/2010/main" val="3880140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nogy_MVM_endorsement_PPT_16to9_EN">
  <a:themeElements>
    <a:clrScheme name="innogy">
      <a:dk1>
        <a:sysClr val="windowText" lastClr="000000"/>
      </a:dk1>
      <a:lt1>
        <a:sysClr val="window" lastClr="FFFFFF"/>
      </a:lt1>
      <a:dk2>
        <a:srgbClr val="3C3732"/>
      </a:dk2>
      <a:lt2>
        <a:srgbClr val="F5F5F5"/>
      </a:lt2>
      <a:accent1>
        <a:srgbClr val="ECECEB"/>
      </a:accent1>
      <a:accent2>
        <a:srgbClr val="64B42D"/>
      </a:accent2>
      <a:accent3>
        <a:srgbClr val="3B342E"/>
      </a:accent3>
      <a:accent4>
        <a:srgbClr val="E60055"/>
      </a:accent4>
      <a:accent5>
        <a:srgbClr val="F59B00"/>
      </a:accent5>
      <a:accent6>
        <a:srgbClr val="780A5F"/>
      </a:accent6>
      <a:hlink>
        <a:srgbClr val="143C8C"/>
      </a:hlink>
      <a:folHlink>
        <a:srgbClr val="00AAE1"/>
      </a:folHlink>
    </a:clrScheme>
    <a:fontScheme name="innogy Regular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64B42D"/>
        </a:solidFill>
        <a:ln cap="sq">
          <a:noFill/>
          <a:miter lim="800000"/>
        </a:ln>
      </a:spPr>
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ctr">
          <a:spcBef>
            <a:spcPts val="600"/>
          </a:spcBef>
          <a:buFont typeface="Arial" panose="020B0604020202020204" pitchFamily="34" charset="0"/>
          <a:buChar char="•"/>
          <a:defRPr sz="1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600"/>
          </a:spcBef>
          <a:buFont typeface="Arial" panose="020B0604020202020204" pitchFamily="34" charset="0"/>
          <a:buChar char="•"/>
          <a:defRPr sz="1600" dirty="0" smtClean="0"/>
        </a:defPPr>
      </a:lstStyle>
    </a:txDef>
  </a:objectDefaults>
  <a:extraClrSchemeLst/>
  <a:custClrLst>
    <a:custClr>
      <a:srgbClr val="FFFFFF"/>
    </a:custClr>
    <a:custClr name="Grey">
      <a:srgbClr val="3C3732"/>
    </a:custClr>
    <a:custClr name="Pulsing Purple Bright">
      <a:srgbClr val="C81E82"/>
    </a:custClr>
    <a:custClr name="Fiery Fuchsia Bright">
      <a:srgbClr val="E60055"/>
    </a:custClr>
    <a:custClr name="Radiant Red Bright">
      <a:srgbClr val="EB4B0A"/>
    </a:custClr>
    <a:custClr name="Mellow Yellow Bright">
      <a:srgbClr val="F59B00"/>
    </a:custClr>
    <a:custClr name="Galvanic Green Bright">
      <a:srgbClr val="64B42D"/>
    </a:custClr>
    <a:custClr name="Blazing Blue Bright">
      <a:srgbClr val="009BA5"/>
    </a:custClr>
    <a:custClr name="Iridescent Indigo Bright">
      <a:srgbClr val="00AAE1"/>
    </a:custClr>
    <a:custClr>
      <a:srgbClr val="FFFFFF"/>
    </a:custClr>
    <a:custClr>
      <a:srgbClr val="FFFFFF"/>
    </a:custClr>
    <a:custClr name="Grey 80%">
      <a:srgbClr val="635F5B"/>
    </a:custClr>
    <a:custClr name="Pulsing Purple Muted">
      <a:srgbClr val="780A5F"/>
    </a:custClr>
    <a:custClr name="Fiery Fuchsia Muted">
      <a:srgbClr val="A50032"/>
    </a:custClr>
    <a:custClr name="Radiant Red Muted">
      <a:srgbClr val="B9280A"/>
    </a:custClr>
    <a:custClr name="Mellow Yellow Muted">
      <a:srgbClr val="D27300"/>
    </a:custClr>
    <a:custClr name="Galvanic Green Muted">
      <a:srgbClr val="00875A"/>
    </a:custClr>
    <a:custClr name="Blazing Blue Muted">
      <a:srgbClr val="005F69"/>
    </a:custClr>
    <a:custClr name="Iridescent Indigo Muted">
      <a:srgbClr val="143C8C"/>
    </a:custClr>
    <a:custClr>
      <a:srgbClr val="FFFFFF"/>
    </a:custClr>
    <a:custClr>
      <a:srgbClr val="FFFFFF"/>
    </a:custClr>
    <a:custClr name="Grey 60%">
      <a:srgbClr val="8A878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40%">
      <a:srgbClr val="B1AFA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20%">
      <a:srgbClr val="D8D7D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NewCo_scr04.potx" id="{B1E02AFD-02B4-4ABD-A7EB-44B0A155B2CA}" vid="{52DD7AF4-4D78-4099-9645-08E58E0F163F}"/>
    </a:ext>
  </a:extLst>
</a:theme>
</file>

<file path=ppt/theme/theme2.xml><?xml version="1.0" encoding="utf-8"?>
<a:theme xmlns:a="http://schemas.openxmlformats.org/drawingml/2006/main" name="Office">
  <a:themeElements>
    <a:clrScheme name="innogy 2016">
      <a:dk1>
        <a:sysClr val="windowText" lastClr="000000"/>
      </a:dk1>
      <a:lt1>
        <a:sysClr val="window" lastClr="FFFFFF"/>
      </a:lt1>
      <a:dk2>
        <a:srgbClr val="333333"/>
      </a:dk2>
      <a:lt2>
        <a:srgbClr val="E5E5E5"/>
      </a:lt2>
      <a:accent1>
        <a:srgbClr val="F59B00"/>
      </a:accent1>
      <a:accent2>
        <a:srgbClr val="C81E82"/>
      </a:accent2>
      <a:accent3>
        <a:srgbClr val="009BA5"/>
      </a:accent3>
      <a:accent4>
        <a:srgbClr val="143C8C"/>
      </a:accent4>
      <a:accent5>
        <a:srgbClr val="EB4B0A"/>
      </a:accent5>
      <a:accent6>
        <a:srgbClr val="780A5F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nnogy 2016">
      <a:dk1>
        <a:sysClr val="windowText" lastClr="000000"/>
      </a:dk1>
      <a:lt1>
        <a:sysClr val="window" lastClr="FFFFFF"/>
      </a:lt1>
      <a:dk2>
        <a:srgbClr val="333333"/>
      </a:dk2>
      <a:lt2>
        <a:srgbClr val="E5E5E5"/>
      </a:lt2>
      <a:accent1>
        <a:srgbClr val="F59B00"/>
      </a:accent1>
      <a:accent2>
        <a:srgbClr val="C81E82"/>
      </a:accent2>
      <a:accent3>
        <a:srgbClr val="009BA5"/>
      </a:accent3>
      <a:accent4>
        <a:srgbClr val="143C8C"/>
      </a:accent4>
      <a:accent5>
        <a:srgbClr val="EB4B0A"/>
      </a:accent5>
      <a:accent6>
        <a:srgbClr val="780A5F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1364467-ad67-4ef9-8458-b9cf1d503e9c" xsi:nil="true"/>
    <lcf76f155ced4ddcb4097134ff3c332f xmlns="7fee75a3-0dfa-40e8-bbad-bc7db16823cd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246BF8DF458A438A2F674909D57597" ma:contentTypeVersion="17" ma:contentTypeDescription="Create a new document." ma:contentTypeScope="" ma:versionID="3e0f60b47a020f0cdf773c3dfdea748b">
  <xsd:schema xmlns:xsd="http://www.w3.org/2001/XMLSchema" xmlns:xs="http://www.w3.org/2001/XMLSchema" xmlns:p="http://schemas.microsoft.com/office/2006/metadata/properties" xmlns:ns2="bdcc107a-873e-4c41-9e4e-58f8acc860db" xmlns:ns3="7fee75a3-0dfa-40e8-bbad-bc7db16823cd" xmlns:ns4="51364467-ad67-4ef9-8458-b9cf1d503e9c" targetNamespace="http://schemas.microsoft.com/office/2006/metadata/properties" ma:root="true" ma:fieldsID="92fbf439474d6ee4a65ba20fa05729cf" ns2:_="" ns3:_="" ns4:_="">
    <xsd:import namespace="bdcc107a-873e-4c41-9e4e-58f8acc860db"/>
    <xsd:import namespace="7fee75a3-0dfa-40e8-bbad-bc7db16823cd"/>
    <xsd:import namespace="51364467-ad67-4ef9-8458-b9cf1d503e9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cc107a-873e-4c41-9e4e-58f8acc860d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ee75a3-0dfa-40e8-bbad-bc7db16823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1552d05-e9d2-4b31-8fcd-c3cad17d071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364467-ad67-4ef9-8458-b9cf1d503e9c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90371b56-9675-4f58-8026-6531b3d4d5ab}" ma:internalName="TaxCatchAll" ma:showField="CatchAllData" ma:web="51364467-ad67-4ef9-8458-b9cf1d503e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07E240E-4F44-4F05-87F4-4B9F93F3A49D}">
  <ds:schemaRefs>
    <ds:schemaRef ds:uri="http://purl.org/dc/terms/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51364467-ad67-4ef9-8458-b9cf1d503e9c"/>
    <ds:schemaRef ds:uri="7fee75a3-0dfa-40e8-bbad-bc7db16823cd"/>
    <ds:schemaRef ds:uri="bdcc107a-873e-4c41-9e4e-58f8acc860db"/>
  </ds:schemaRefs>
</ds:datastoreItem>
</file>

<file path=customXml/itemProps2.xml><?xml version="1.0" encoding="utf-8"?>
<ds:datastoreItem xmlns:ds="http://schemas.openxmlformats.org/officeDocument/2006/customXml" ds:itemID="{CD879C40-89A8-42F2-B581-5B2E48FF9C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A42B2A5-C652-4F7B-86FB-E41F2F6CA4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dcc107a-873e-4c41-9e4e-58f8acc860db"/>
    <ds:schemaRef ds:uri="7fee75a3-0dfa-40e8-bbad-bc7db16823cd"/>
    <ds:schemaRef ds:uri="51364467-ad67-4ef9-8458-b9cf1d503e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nogy_16to9_PPT_EN</Template>
  <TotalTime>909</TotalTime>
  <Words>512</Words>
  <Application>Microsoft Office PowerPoint</Application>
  <PresentationFormat>Předvádění na obrazovce (16:9)</PresentationFormat>
  <Paragraphs>129</Paragraphs>
  <Slides>20</Slides>
  <Notes>20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0</vt:i4>
      </vt:variant>
    </vt:vector>
  </HeadingPairs>
  <TitlesOfParts>
    <vt:vector size="27" baseType="lpstr">
      <vt:lpstr>AmazonEmberBold</vt:lpstr>
      <vt:lpstr>Arial</vt:lpstr>
      <vt:lpstr>Calibri</vt:lpstr>
      <vt:lpstr>Cerebrisans</vt:lpstr>
      <vt:lpstr>Symbol</vt:lpstr>
      <vt:lpstr>innogy_MVM_endorsement_PPT_16to9_EN</vt:lpstr>
      <vt:lpstr>think-cell Folie</vt:lpstr>
      <vt:lpstr>Cloud and Data Analytics Architecture  Data Everywhere for Everyone</vt:lpstr>
      <vt:lpstr>innogy CZ market position: Market leader in natural gas, fastest-growing in electricity and #1 on the CNG market.</vt:lpstr>
      <vt:lpstr>Prezentace aplikace PowerPoint</vt:lpstr>
      <vt:lpstr>Our cloud story year by year</vt:lpstr>
      <vt:lpstr>Cloud will handle all your responsibility on security and data protection</vt:lpstr>
      <vt:lpstr>Prezentace aplikace PowerPoint</vt:lpstr>
      <vt:lpstr>innogy cloud application landscape</vt:lpstr>
      <vt:lpstr>innogy Shared Responsibility Model </vt:lpstr>
      <vt:lpstr>Why Doesn’t modern cloud Result in a Modern Data Experience?</vt:lpstr>
      <vt:lpstr>Prezentace aplikace PowerPoint</vt:lpstr>
      <vt:lpstr>Challenges of the Modern Data Stack?</vt:lpstr>
      <vt:lpstr>TOOLS</vt:lpstr>
      <vt:lpstr>Prezentace aplikace PowerPoint</vt:lpstr>
      <vt:lpstr>Data Academy</vt:lpstr>
      <vt:lpstr>Modern data architecture</vt:lpstr>
      <vt:lpstr>Modern Cloud Data Architecture</vt:lpstr>
      <vt:lpstr>Data mesh</vt:lpstr>
      <vt:lpstr>Prezentace aplikace PowerPoint</vt:lpstr>
      <vt:lpstr>Think Big,   start Small    and Be Prepared</vt:lpstr>
      <vt:lpstr>Thank you! </vt:lpstr>
    </vt:vector>
  </TitlesOfParts>
  <Manager>First name Surname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gy MVM PPT master</dc:title>
  <dc:subject>PowerPoint template</dc:subject>
  <dc:creator>MC</dc:creator>
  <dc:description>For PowerPoint 2010 optimized template</dc:description>
  <cp:lastModifiedBy>Hodinka Michal</cp:lastModifiedBy>
  <cp:revision>9</cp:revision>
  <cp:lastPrinted>2022-11-22T07:54:30Z</cp:lastPrinted>
  <dcterms:created xsi:type="dcterms:W3CDTF">2016-09-15T11:22:07Z</dcterms:created>
  <dcterms:modified xsi:type="dcterms:W3CDTF">2022-11-24T22:2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246BF8DF458A438A2F674909D57597</vt:lpwstr>
  </property>
  <property fmtid="{D5CDD505-2E9C-101B-9397-08002B2CF9AE}" pid="3" name="MSIP_Label_11f6a6dc-c396-49f6-96f2-ee55ed22e261_Enabled">
    <vt:lpwstr>true</vt:lpwstr>
  </property>
  <property fmtid="{D5CDD505-2E9C-101B-9397-08002B2CF9AE}" pid="4" name="MSIP_Label_11f6a6dc-c396-49f6-96f2-ee55ed22e261_SetDate">
    <vt:lpwstr>2022-05-24T10:30:24Z</vt:lpwstr>
  </property>
  <property fmtid="{D5CDD505-2E9C-101B-9397-08002B2CF9AE}" pid="5" name="MSIP_Label_11f6a6dc-c396-49f6-96f2-ee55ed22e261_Method">
    <vt:lpwstr>Standard</vt:lpwstr>
  </property>
  <property fmtid="{D5CDD505-2E9C-101B-9397-08002B2CF9AE}" pid="6" name="MSIP_Label_11f6a6dc-c396-49f6-96f2-ee55ed22e261_Name">
    <vt:lpwstr>Interní - bez označení</vt:lpwstr>
  </property>
  <property fmtid="{D5CDD505-2E9C-101B-9397-08002B2CF9AE}" pid="7" name="MSIP_Label_11f6a6dc-c396-49f6-96f2-ee55ed22e261_SiteId">
    <vt:lpwstr>d3f10f6d-4a4d-4cde-acb6-284a54d78b3a</vt:lpwstr>
  </property>
  <property fmtid="{D5CDD505-2E9C-101B-9397-08002B2CF9AE}" pid="8" name="MSIP_Label_11f6a6dc-c396-49f6-96f2-ee55ed22e261_ActionId">
    <vt:lpwstr>e85ae5a9-cd5d-4483-b3e2-873c2997262b</vt:lpwstr>
  </property>
  <property fmtid="{D5CDD505-2E9C-101B-9397-08002B2CF9AE}" pid="9" name="MSIP_Label_11f6a6dc-c396-49f6-96f2-ee55ed22e261_ContentBits">
    <vt:lpwstr>0</vt:lpwstr>
  </property>
  <property fmtid="{D5CDD505-2E9C-101B-9397-08002B2CF9AE}" pid="10" name="MediaServiceImageTags">
    <vt:lpwstr/>
  </property>
</Properties>
</file>